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Default Extension="wmf" ContentType="image/x-wmf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slideLayouts/slideLayout10.xml" ContentType="application/vnd.openxmlformats-officedocument.presentationml.slideLayout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notesSlides/notesSlide15.xml" ContentType="application/vnd.openxmlformats-officedocument.presentationml.notesSlide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wmf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88" r:id="rId1"/>
  </p:sldMasterIdLst>
  <p:notesMasterIdLst>
    <p:notesMasterId r:id="rId19"/>
  </p:notesMasterIdLst>
  <p:sldIdLst>
    <p:sldId id="351" r:id="rId2"/>
    <p:sldId id="315" r:id="rId3"/>
    <p:sldId id="352" r:id="rId4"/>
    <p:sldId id="316" r:id="rId5"/>
    <p:sldId id="317" r:id="rId6"/>
    <p:sldId id="319" r:id="rId7"/>
    <p:sldId id="322" r:id="rId8"/>
    <p:sldId id="323" r:id="rId9"/>
    <p:sldId id="324" r:id="rId10"/>
    <p:sldId id="325" r:id="rId11"/>
    <p:sldId id="326" r:id="rId12"/>
    <p:sldId id="328" r:id="rId13"/>
    <p:sldId id="327" r:id="rId14"/>
    <p:sldId id="329" r:id="rId15"/>
    <p:sldId id="330" r:id="rId16"/>
    <p:sldId id="331" r:id="rId17"/>
    <p:sldId id="332" r:id="rId18"/>
  </p:sldIdLst>
  <p:sldSz cx="9906000" cy="6858000" type="A4"/>
  <p:notesSz cx="7104063" cy="10234613"/>
  <p:defaultTextStyle>
    <a:defPPr>
      <a:defRPr lang="en-US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CFCFCF"/>
    <a:srgbClr val="F2F2F2"/>
    <a:srgbClr val="D3E6F5"/>
    <a:srgbClr val="2E83C3"/>
    <a:srgbClr val="FFFFFF"/>
    <a:srgbClr val="C5ECF9"/>
    <a:srgbClr val="EBF4FB"/>
    <a:srgbClr val="77D3F1"/>
  </p:clrMru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30" autoAdjust="0"/>
    <p:restoredTop sz="96433" autoAdjust="0"/>
  </p:normalViewPr>
  <p:slideViewPr>
    <p:cSldViewPr snapToGrid="0">
      <p:cViewPr varScale="1">
        <p:scale>
          <a:sx n="75" d="100"/>
          <a:sy n="75" d="100"/>
        </p:scale>
        <p:origin x="-276" y="-102"/>
      </p:cViewPr>
      <p:guideLst>
        <p:guide orient="horz" pos="2160"/>
        <p:guide pos="31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9" d="100"/>
          <a:sy n="79" d="100"/>
        </p:scale>
        <p:origin x="2994" y="10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512763"/>
          </a:xfrm>
          <a:prstGeom prst="rect">
            <a:avLst/>
          </a:prstGeom>
        </p:spPr>
        <p:txBody>
          <a:bodyPr vert="horz" lIns="94793" tIns="47396" rIns="94793" bIns="47396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4024313" y="0"/>
            <a:ext cx="3078162" cy="512763"/>
          </a:xfrm>
          <a:prstGeom prst="rect">
            <a:avLst/>
          </a:prstGeom>
        </p:spPr>
        <p:txBody>
          <a:bodyPr vert="horz" lIns="94793" tIns="47396" rIns="94793" bIns="47396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2EF83916-D2FD-4D2F-A56F-5C0450A06BDB}" type="datetimeFigureOut">
              <a:rPr lang="ru-RU"/>
              <a:pPr>
                <a:defRPr/>
              </a:pPr>
              <a:t>02.03.2016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058863" y="1281113"/>
            <a:ext cx="4986337" cy="3452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93" tIns="47396" rIns="94793" bIns="4739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711200" y="4926013"/>
            <a:ext cx="5683250" cy="4029075"/>
          </a:xfrm>
          <a:prstGeom prst="rect">
            <a:avLst/>
          </a:prstGeom>
        </p:spPr>
        <p:txBody>
          <a:bodyPr vert="horz" lIns="94793" tIns="47396" rIns="94793" bIns="47396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721850"/>
            <a:ext cx="3078163" cy="512763"/>
          </a:xfrm>
          <a:prstGeom prst="rect">
            <a:avLst/>
          </a:prstGeom>
        </p:spPr>
        <p:txBody>
          <a:bodyPr vert="horz" lIns="94793" tIns="47396" rIns="94793" bIns="47396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4024313" y="9721850"/>
            <a:ext cx="3078162" cy="512763"/>
          </a:xfrm>
          <a:prstGeom prst="rect">
            <a:avLst/>
          </a:prstGeom>
        </p:spPr>
        <p:txBody>
          <a:bodyPr vert="horz" lIns="94793" tIns="47396" rIns="94793" bIns="47396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  <a:cs typeface="+mn-cs"/>
              </a:defRPr>
            </a:lvl1pPr>
          </a:lstStyle>
          <a:p>
            <a:pPr>
              <a:defRPr/>
            </a:pPr>
            <a:fld id="{F1D712BA-CDF1-4367-8342-D6DE84D8B3DB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457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457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A799396A-84D7-45D4-A63A-0250232D306A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0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4301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2C3322D9-2E63-415F-A81C-5A1C7C5B5D18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505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4505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E6565725-AF21-4D6E-B40F-CE3139A8EE6D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10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710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4710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1353D61C-EE69-4992-B9BF-41F2E8A2A4BE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15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915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4915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D2DA535-38E1-41C0-B0AE-34371D01C909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0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120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5120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412781E-81F9-4EBD-BF6C-50C49BB6F376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24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325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5325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8026BAD-4095-4A0A-B26E-BCFB5959606B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5529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5529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E5660A-D4B5-47AC-AF69-A323EC631ACF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66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662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E59AF69-D379-40E8-9DAA-8E9BF334C9E5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867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altLang="ru-RU" smtClean="0"/>
          </a:p>
        </p:txBody>
      </p:sp>
      <p:sp>
        <p:nvSpPr>
          <p:cNvPr id="2867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583A0A6F-D596-42F0-95EC-7B0F0B97AD93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072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3072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0A6CD02C-A106-42F1-AE9B-8A8F4660FB24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69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2770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32771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A94FFD7-5FB6-425C-BAA9-4234236F2DF4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817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48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34819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9B4F90EC-FF3F-428A-8CEB-F51B9B860260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686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36867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89EECB69-DE1C-4BDC-82B3-E01C37B36290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3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38914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38915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75495C90-267D-446C-B697-912BF0DA2EDC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1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0962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r>
              <a:rPr lang="ru-RU" smtClean="0"/>
              <a:t> </a:t>
            </a:r>
            <a:endParaRPr lang="ru-RU" altLang="ru-RU" smtClean="0"/>
          </a:p>
        </p:txBody>
      </p:sp>
      <p:sp>
        <p:nvSpPr>
          <p:cNvPr id="40963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B62C60B0-69B7-4932-AAB9-50B845BF9CDD}" type="slidenum">
              <a:rPr lang="ru-RU" alt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endParaRPr lang="ru-RU" altLang="ru-RU">
              <a:cs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4" Type="http://schemas.openxmlformats.org/officeDocument/2006/relationships/image" Target="../media/image1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6"/>
          <p:cNvGrpSpPr>
            <a:grpSpLocks/>
          </p:cNvGrpSpPr>
          <p:nvPr userDrawn="1"/>
        </p:nvGrpSpPr>
        <p:grpSpPr bwMode="auto">
          <a:xfrm>
            <a:off x="-9525" y="-7938"/>
            <a:ext cx="9936163" cy="6873876"/>
            <a:chOff x="-8466" y="-8468"/>
            <a:chExt cx="9171316" cy="6874935"/>
          </a:xfrm>
        </p:grpSpPr>
        <p:cxnSp>
          <p:nvCxnSpPr>
            <p:cNvPr id="5" name="Straight Connector 27"/>
            <p:cNvCxnSpPr/>
            <p:nvPr/>
          </p:nvCxnSpPr>
          <p:spPr>
            <a:xfrm flipV="1">
              <a:off x="5130343" y="4175239"/>
              <a:ext cx="4022249" cy="2683288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" name="Straight Connector 28"/>
            <p:cNvCxnSpPr/>
            <p:nvPr/>
          </p:nvCxnSpPr>
          <p:spPr>
            <a:xfrm>
              <a:off x="7042560" y="-529"/>
              <a:ext cx="1219130" cy="685905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Freeform 29"/>
            <p:cNvSpPr/>
            <p:nvPr/>
          </p:nvSpPr>
          <p:spPr>
            <a:xfrm>
              <a:off x="6891634" y="-529"/>
              <a:ext cx="2269750" cy="686699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8" name="Freeform 30"/>
            <p:cNvSpPr/>
            <p:nvPr/>
          </p:nvSpPr>
          <p:spPr>
            <a:xfrm>
              <a:off x="7205209" y="-8468"/>
              <a:ext cx="1947384" cy="6866996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9" name="Freeform 31"/>
            <p:cNvSpPr/>
            <p:nvPr/>
          </p:nvSpPr>
          <p:spPr>
            <a:xfrm>
              <a:off x="6638137" y="3919613"/>
              <a:ext cx="2512991" cy="2938915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0" name="Freeform 32"/>
            <p:cNvSpPr/>
            <p:nvPr/>
          </p:nvSpPr>
          <p:spPr>
            <a:xfrm>
              <a:off x="7010323" y="-8468"/>
              <a:ext cx="2142269" cy="6866996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33"/>
            <p:cNvSpPr/>
            <p:nvPr/>
          </p:nvSpPr>
          <p:spPr>
            <a:xfrm>
              <a:off x="8295392" y="-8468"/>
              <a:ext cx="857200" cy="6866996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34"/>
            <p:cNvSpPr/>
            <p:nvPr/>
          </p:nvSpPr>
          <p:spPr>
            <a:xfrm>
              <a:off x="8094646" y="-8468"/>
              <a:ext cx="1066739" cy="6866996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35"/>
            <p:cNvSpPr/>
            <p:nvPr/>
          </p:nvSpPr>
          <p:spPr>
            <a:xfrm>
              <a:off x="8068270" y="4894488"/>
              <a:ext cx="1094580" cy="1964040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7"/>
            <p:cNvSpPr/>
            <p:nvPr/>
          </p:nvSpPr>
          <p:spPr>
            <a:xfrm>
              <a:off x="-8466" y="-8468"/>
              <a:ext cx="863062" cy="5698416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8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24812" y="2404534"/>
            <a:ext cx="6312279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24812" y="4050835"/>
            <a:ext cx="6312279" cy="1096899"/>
          </a:xfrm>
        </p:spPr>
        <p:txBody>
          <a:bodyPr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1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FE1AABE-61C6-4F4B-8DC2-8B3446D9BE3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400" y="4470400"/>
            <a:ext cx="6876690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C0118C7-AD91-4E33-B89D-6F2515E43FB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3"/>
          <p:cNvSpPr txBox="1"/>
          <p:nvPr/>
        </p:nvSpPr>
        <p:spPr>
          <a:xfrm>
            <a:off x="522288" y="790575"/>
            <a:ext cx="495300" cy="584200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+mn-cs"/>
              </a:rPr>
              <a:t>“</a:t>
            </a:r>
          </a:p>
        </p:txBody>
      </p:sp>
      <p:sp>
        <p:nvSpPr>
          <p:cNvPr id="6" name="TextBox 24"/>
          <p:cNvSpPr txBox="1"/>
          <p:nvPr/>
        </p:nvSpPr>
        <p:spPr>
          <a:xfrm>
            <a:off x="7310438" y="2886075"/>
            <a:ext cx="495300" cy="585788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192830" y="3632200"/>
            <a:ext cx="587145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470400"/>
            <a:ext cx="6876691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33D413-FA58-4711-9165-DA760D1E313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931988"/>
            <a:ext cx="6876691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A1C65-FDFC-4E53-9E73-D47FB72B0C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3"/>
          <p:cNvSpPr txBox="1"/>
          <p:nvPr/>
        </p:nvSpPr>
        <p:spPr>
          <a:xfrm>
            <a:off x="522288" y="790575"/>
            <a:ext cx="495300" cy="584200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+mn-cs"/>
              </a:rPr>
              <a:t>“</a:t>
            </a:r>
          </a:p>
        </p:txBody>
      </p:sp>
      <p:sp>
        <p:nvSpPr>
          <p:cNvPr id="6" name="TextBox 24"/>
          <p:cNvSpPr txBox="1"/>
          <p:nvPr/>
        </p:nvSpPr>
        <p:spPr>
          <a:xfrm>
            <a:off x="7310438" y="2886075"/>
            <a:ext cx="495300" cy="585788"/>
          </a:xfrm>
          <a:prstGeom prst="rect">
            <a:avLst/>
          </a:prstGeom>
        </p:spPr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latin typeface="Arial"/>
                <a:cs typeface="+mn-cs"/>
              </a:rPr>
              <a:t>”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459" y="609600"/>
            <a:ext cx="6578197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DDDD21-562B-4299-A613-12FC92B9F3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7169" y="609600"/>
            <a:ext cx="6869920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60397" y="4013200"/>
            <a:ext cx="6876692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1513914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A13F719-020A-44CD-AF0A-D1012F6303DD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78FD01-238E-4921-90DE-FB19045B2C35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75421" y="609601"/>
            <a:ext cx="1060380" cy="5251451"/>
          </a:xfrm>
        </p:spPr>
        <p:txBody>
          <a:bodyPr vert="eaVert" anchor="ctr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60399" y="609601"/>
            <a:ext cx="5627945" cy="525145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E7C933C-090D-4AFF-B18E-1690CF4E0DC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5"/>
          <p:cNvGrpSpPr>
            <a:grpSpLocks/>
          </p:cNvGrpSpPr>
          <p:nvPr userDrawn="1"/>
        </p:nvGrpSpPr>
        <p:grpSpPr bwMode="auto">
          <a:xfrm>
            <a:off x="0" y="-7938"/>
            <a:ext cx="9912350" cy="6865938"/>
            <a:chOff x="0" y="-7862"/>
            <a:chExt cx="12200307" cy="6865862"/>
          </a:xfrm>
        </p:grpSpPr>
        <p:sp>
          <p:nvSpPr>
            <p:cNvPr id="3" name="Isosceles Triangle 22"/>
            <p:cNvSpPr/>
            <p:nvPr userDrawn="1"/>
          </p:nvSpPr>
          <p:spPr>
            <a:xfrm>
              <a:off x="8108788" y="6067434"/>
              <a:ext cx="4075887" cy="790566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20000"/>
                <a:lumOff val="80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4" name="Freeform 14"/>
            <p:cNvSpPr/>
            <p:nvPr userDrawn="1"/>
          </p:nvSpPr>
          <p:spPr>
            <a:xfrm>
              <a:off x="0" y="-7862"/>
              <a:ext cx="521699" cy="5697475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5" name="Straight Connector 19"/>
            <p:cNvCxnSpPr/>
            <p:nvPr/>
          </p:nvCxnSpPr>
          <p:spPr>
            <a:xfrm flipH="1">
              <a:off x="6487031" y="6256345"/>
              <a:ext cx="5713276" cy="601655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Isosceles Triangle 22"/>
            <p:cNvSpPr/>
            <p:nvPr/>
          </p:nvSpPr>
          <p:spPr>
            <a:xfrm>
              <a:off x="11379659" y="5559439"/>
              <a:ext cx="812833" cy="1298561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60000"/>
                <a:lumOff val="40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7" name="Isosceles Triangle 22"/>
            <p:cNvSpPr/>
            <p:nvPr userDrawn="1"/>
          </p:nvSpPr>
          <p:spPr>
            <a:xfrm>
              <a:off x="10922440" y="6067434"/>
              <a:ext cx="1270051" cy="790566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40000"/>
                <a:lumOff val="60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osition Lines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>
            <a:off x="360363" y="6886575"/>
            <a:ext cx="0" cy="71438"/>
          </a:xfrm>
          <a:prstGeom prst="line">
            <a:avLst/>
          </a:prstGeom>
          <a:noFill/>
          <a:ln w="3175">
            <a:solidFill>
              <a:schemeClr val="accent1"/>
            </a:solidFill>
            <a:round/>
            <a:headEnd/>
            <a:tailEnd/>
          </a:ln>
          <a:extLst>
            <a:ext uri="{909E8E84-426E-40DD-AFC4-6F175D3DCCD1}"/>
          </a:extLst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  <a:cs typeface="+mn-cs"/>
            </a:endParaRPr>
          </a:p>
        </p:txBody>
      </p:sp>
      <p:sp>
        <p:nvSpPr>
          <p:cNvPr id="10" name="Type of document"/>
          <p:cNvSpPr>
            <a:spLocks noGrp="1"/>
          </p:cNvSpPr>
          <p:nvPr>
            <p:ph type="body" sz="quarter" idx="18"/>
          </p:nvPr>
        </p:nvSpPr>
        <p:spPr>
          <a:xfrm>
            <a:off x="1" y="4486851"/>
            <a:ext cx="4549966" cy="654401"/>
          </a:xfrm>
        </p:spPr>
        <p:txBody>
          <a:bodyPr lIns="360000" tIns="72000" rIns="252000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defRPr sz="1575">
                <a:latin typeface="+mn-lt"/>
                <a:sym typeface="+mn-lt"/>
              </a:defRPr>
            </a:lvl1pPr>
            <a:lvl2pPr>
              <a:lnSpc>
                <a:spcPct val="90000"/>
              </a:lnSpc>
              <a:spcBef>
                <a:spcPts val="0"/>
              </a:spcBef>
              <a:defRPr/>
            </a:lvl2pPr>
            <a:lvl3pPr>
              <a:lnSpc>
                <a:spcPct val="90000"/>
              </a:lnSpc>
              <a:spcBef>
                <a:spcPts val="0"/>
              </a:spcBef>
              <a:defRPr/>
            </a:lvl3pPr>
            <a:lvl4pPr>
              <a:lnSpc>
                <a:spcPct val="90000"/>
              </a:lnSpc>
              <a:spcBef>
                <a:spcPts val="0"/>
              </a:spcBef>
              <a:defRPr/>
            </a:lvl4pPr>
            <a:lvl5pPr>
              <a:lnSpc>
                <a:spcPct val="90000"/>
              </a:lnSpc>
              <a:spcBef>
                <a:spcPts val="0"/>
              </a:spcBef>
              <a:defRPr/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" name="Location, date"/>
          <p:cNvSpPr>
            <a:spLocks noGrp="1"/>
          </p:cNvSpPr>
          <p:nvPr>
            <p:ph type="body" sz="quarter" idx="16"/>
          </p:nvPr>
        </p:nvSpPr>
        <p:spPr>
          <a:xfrm>
            <a:off x="1" y="5596250"/>
            <a:ext cx="4549966" cy="720197"/>
          </a:xfrm>
        </p:spPr>
        <p:txBody>
          <a:bodyPr lIns="360000" tIns="0" rIns="252000" anchor="b">
            <a:noAutofit/>
          </a:bodyPr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 Narrow" pitchFamily="34" charset="0"/>
              <a:buNone/>
              <a:tabLst/>
              <a:defRPr sz="975" baseline="0">
                <a:latin typeface="+mn-lt"/>
                <a:sym typeface="+mn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Project name"/>
          <p:cNvSpPr>
            <a:spLocks noGrp="1"/>
          </p:cNvSpPr>
          <p:nvPr>
            <p:ph type="title"/>
          </p:nvPr>
        </p:nvSpPr>
        <p:spPr>
          <a:xfrm>
            <a:off x="1" y="3904588"/>
            <a:ext cx="4549966" cy="582261"/>
          </a:xfrm>
        </p:spPr>
        <p:txBody>
          <a:bodyPr lIns="360000" rIns="252000" bIns="108000" anchor="b">
            <a:spAutoFit/>
          </a:bodyPr>
          <a:lstStyle>
            <a:lvl1pPr>
              <a:defRPr sz="2775" baseline="0">
                <a:latin typeface="+mj-lt"/>
                <a:sym typeface="+mn-lt"/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Client name"/>
          <p:cNvSpPr>
            <a:spLocks noGrp="1"/>
          </p:cNvSpPr>
          <p:nvPr>
            <p:ph type="body" sz="quarter" idx="19"/>
          </p:nvPr>
        </p:nvSpPr>
        <p:spPr>
          <a:xfrm>
            <a:off x="360001" y="540001"/>
            <a:ext cx="4189966" cy="6463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baseline="0">
                <a:latin typeface="+mn-lt"/>
                <a:sym typeface="+mn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Slide Number Placeholder" hidden="1"/>
          <p:cNvSpPr>
            <a:spLocks noGrp="1"/>
          </p:cNvSpPr>
          <p:nvPr>
            <p:ph type="sldNum" sz="quarter" idx="20"/>
            <p:custDataLst>
              <p:tags r:id="rId2"/>
            </p:custDataLst>
          </p:nvPr>
        </p:nvSpPr>
        <p:spPr>
          <a:xfrm>
            <a:off x="9971088" y="182563"/>
            <a:ext cx="23812" cy="23812"/>
          </a:xfrm>
        </p:spPr>
        <p:txBody>
          <a:bodyPr wrap="none" lIns="0" tIns="0" rIns="0" bIns="0">
            <a:spAutoFit/>
          </a:bodyPr>
          <a:lstStyle>
            <a:lvl1pPr algn="l">
              <a:defRPr sz="15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>
              <a:defRPr/>
            </a:pPr>
            <a:fld id="{3C82F3CE-050D-4002-8700-601FC53E905F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8" name="Footer Placeholder" hidden="1"/>
          <p:cNvSpPr>
            <a:spLocks noGrp="1"/>
          </p:cNvSpPr>
          <p:nvPr>
            <p:ph type="ftr" sz="quarter" idx="21"/>
            <p:custDataLst>
              <p:tags r:id="rId3"/>
            </p:custDataLst>
          </p:nvPr>
        </p:nvSpPr>
        <p:spPr>
          <a:xfrm>
            <a:off x="9971088" y="228600"/>
            <a:ext cx="0" cy="23813"/>
          </a:xfrm>
        </p:spPr>
        <p:txBody>
          <a:bodyPr wrap="none" lIns="0" tIns="0" rIns="0" bIns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3"/>
          <p:cNvPicPr>
            <a:picLocks noChangeAspect="1" noChangeArrowheads="1"/>
          </p:cNvPicPr>
          <p:nvPr userDrawn="1"/>
        </p:nvPicPr>
        <p:blipFill>
          <a:blip r:embed="rId4"/>
          <a:srcRect l="5168" t="9190" r="75713" b="84872"/>
          <a:stretch>
            <a:fillRect/>
          </a:stretch>
        </p:blipFill>
        <p:spPr bwMode="auto">
          <a:xfrm>
            <a:off x="7781925" y="223838"/>
            <a:ext cx="149225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8002" y="720003"/>
            <a:ext cx="8535987" cy="747897"/>
          </a:xfrm>
        </p:spPr>
        <p:txBody>
          <a:bodyPr/>
          <a:lstStyle>
            <a:lvl1pPr>
              <a:tabLst>
                <a:tab pos="939404" algn="l"/>
              </a:tabLst>
              <a:defRPr>
                <a:latin typeface="+mj-lt"/>
                <a:sym typeface="+mn-lt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4" name="Slide Number Placeholder" hidden="1"/>
          <p:cNvSpPr>
            <a:spLocks noGrp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9971088" y="182563"/>
            <a:ext cx="23812" cy="23812"/>
          </a:xfrm>
        </p:spPr>
        <p:txBody>
          <a:bodyPr wrap="none" lIns="0" tIns="0" rIns="0" bIns="0">
            <a:spAutoFit/>
          </a:bodyPr>
          <a:lstStyle>
            <a:lvl1pPr algn="l">
              <a:defRPr sz="150" b="0">
                <a:solidFill>
                  <a:schemeClr val="bg1">
                    <a:lumMod val="75000"/>
                  </a:schemeClr>
                </a:solidFill>
                <a:latin typeface="+mn-lt"/>
                <a:cs typeface="+mn-cs"/>
                <a:sym typeface="+mn-lt"/>
              </a:defRPr>
            </a:lvl1pPr>
          </a:lstStyle>
          <a:p>
            <a:pPr>
              <a:defRPr/>
            </a:pPr>
            <a:fld id="{747EC057-2517-4844-8071-62CA28EF0A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11"/>
            <p:custDataLst>
              <p:tags r:id="rId2"/>
            </p:custDataLst>
          </p:nvPr>
        </p:nvSpPr>
        <p:spPr>
          <a:xfrm>
            <a:off x="9971088" y="228600"/>
            <a:ext cx="0" cy="23813"/>
          </a:xfrm>
        </p:spPr>
        <p:txBody>
          <a:bodyPr wrap="none" lIns="0" tIns="0" rIns="0" bIns="0" anchor="t" anchorCtr="0">
            <a:spAutoFit/>
          </a:bodyPr>
          <a:lstStyle>
            <a:lvl1pPr algn="l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0" b="0" kern="1200">
                <a:solidFill>
                  <a:schemeClr val="bg1">
                    <a:lumMod val="75000"/>
                  </a:schemeClr>
                </a:solidFill>
                <a:latin typeface="+mn-lt"/>
                <a:ea typeface="+mn-ea"/>
                <a:cs typeface="+mn-cs"/>
                <a:sym typeface="+mn-lt"/>
              </a:defRPr>
            </a:lvl1pPr>
          </a:lstStyle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C434F7-F352-4945-9378-C72F2317C12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2700869"/>
            <a:ext cx="6876691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4527448"/>
            <a:ext cx="6876691" cy="860400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E8A55E-407D-422D-AA4A-FC9B6462EE6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90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60401" y="2160589"/>
            <a:ext cx="3345451" cy="38807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191637" y="2160590"/>
            <a:ext cx="3345453" cy="3880773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6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ADE922-C185-4C00-A48A-830CB9BC789B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400" y="609600"/>
            <a:ext cx="6876689" cy="13208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0399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60399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188860" y="2160983"/>
            <a:ext cx="334822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188860" y="2737247"/>
            <a:ext cx="3348228" cy="330411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C32EE0D-75EE-4D78-9F8F-28F3AF51F52E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609600"/>
            <a:ext cx="6876690" cy="13208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CCA4E-BF11-44BB-BEED-8F7E1CF0D80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5A2169-5CC2-4D87-9961-A75A9A71A80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1498604"/>
            <a:ext cx="3022697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68882" y="514926"/>
            <a:ext cx="3668207" cy="5526437"/>
          </a:xfrm>
        </p:spPr>
        <p:txBody>
          <a:bodyPr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2777069"/>
            <a:ext cx="3022697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9351730-90E5-4FAB-BFE4-38EB759C9F29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0399" y="4800600"/>
            <a:ext cx="6876690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60399" y="609600"/>
            <a:ext cx="6876690" cy="3845718"/>
          </a:xfrm>
        </p:spPr>
        <p:txBody>
          <a:bodyPr rtlCol="0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0399" y="5367338"/>
            <a:ext cx="6876690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1EE102-45C7-43AC-A90C-95B7827CA4B7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6"/>
          <p:cNvGrpSpPr>
            <a:grpSpLocks/>
          </p:cNvGrpSpPr>
          <p:nvPr/>
        </p:nvGrpSpPr>
        <p:grpSpPr bwMode="auto">
          <a:xfrm>
            <a:off x="-9525" y="-7938"/>
            <a:ext cx="9936163" cy="6873876"/>
            <a:chOff x="-8467" y="-8468"/>
            <a:chExt cx="9171317" cy="6874935"/>
          </a:xfrm>
        </p:grpSpPr>
        <p:sp>
          <p:nvSpPr>
            <p:cNvPr id="7" name="Freeform 6"/>
            <p:cNvSpPr/>
            <p:nvPr/>
          </p:nvSpPr>
          <p:spPr>
            <a:xfrm>
              <a:off x="-8467" y="4013290"/>
              <a:ext cx="457174" cy="2853177"/>
            </a:xfrm>
            <a:custGeom>
              <a:avLst/>
              <a:gdLst/>
              <a:ahLst/>
              <a:cxnLst/>
              <a:rect l="l" t="t" r="r" b="b"/>
              <a:pathLst>
                <a:path w="457200" h="2853267">
                  <a:moveTo>
                    <a:pt x="0" y="0"/>
                  </a:moveTo>
                  <a:lnTo>
                    <a:pt x="457200" y="2853267"/>
                  </a:lnTo>
                  <a:lnTo>
                    <a:pt x="0" y="2844800"/>
                  </a:lnTo>
                  <a:cubicBezTo>
                    <a:pt x="2822" y="1905000"/>
                    <a:pt x="5645" y="965200"/>
                    <a:pt x="0" y="0"/>
                  </a:cubicBez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8" name="Straight Connector 7"/>
            <p:cNvCxnSpPr/>
            <p:nvPr/>
          </p:nvCxnSpPr>
          <p:spPr>
            <a:xfrm flipV="1">
              <a:off x="5130343" y="4175239"/>
              <a:ext cx="4022250" cy="2683288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>
              <a:off x="7042560" y="-529"/>
              <a:ext cx="1219130" cy="685905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Freeform 9"/>
            <p:cNvSpPr/>
            <p:nvPr/>
          </p:nvSpPr>
          <p:spPr>
            <a:xfrm>
              <a:off x="6891634" y="-529"/>
              <a:ext cx="2269750" cy="6866996"/>
            </a:xfrm>
            <a:custGeom>
              <a:avLst/>
              <a:gdLst/>
              <a:ahLst/>
              <a:cxnLst/>
              <a:rect l="l" t="t" r="r" b="b"/>
              <a:pathLst>
                <a:path w="2269442" h="6866466">
                  <a:moveTo>
                    <a:pt x="2023534" y="0"/>
                  </a:moveTo>
                  <a:lnTo>
                    <a:pt x="0" y="6858000"/>
                  </a:lnTo>
                  <a:lnTo>
                    <a:pt x="2269067" y="6866466"/>
                  </a:lnTo>
                  <a:cubicBezTo>
                    <a:pt x="2271889" y="4580466"/>
                    <a:pt x="2257778" y="2294466"/>
                    <a:pt x="2260600" y="8466"/>
                  </a:cubicBezTo>
                  <a:lnTo>
                    <a:pt x="2023534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1" name="Freeform 10"/>
            <p:cNvSpPr/>
            <p:nvPr/>
          </p:nvSpPr>
          <p:spPr>
            <a:xfrm>
              <a:off x="7205208" y="-8468"/>
              <a:ext cx="1947384" cy="6866996"/>
            </a:xfrm>
            <a:custGeom>
              <a:avLst/>
              <a:gdLst/>
              <a:ahLst/>
              <a:cxnLst/>
              <a:rect l="l" t="t" r="r" b="b"/>
              <a:pathLst>
                <a:path w="1948147" h="6866467">
                  <a:moveTo>
                    <a:pt x="0" y="0"/>
                  </a:moveTo>
                  <a:lnTo>
                    <a:pt x="1202267" y="6866467"/>
                  </a:lnTo>
                  <a:lnTo>
                    <a:pt x="1947333" y="6866467"/>
                  </a:lnTo>
                  <a:cubicBezTo>
                    <a:pt x="1944511" y="4577645"/>
                    <a:pt x="1950155" y="2288822"/>
                    <a:pt x="194733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2" name="Freeform 11"/>
            <p:cNvSpPr/>
            <p:nvPr/>
          </p:nvSpPr>
          <p:spPr>
            <a:xfrm>
              <a:off x="6638137" y="3919613"/>
              <a:ext cx="2512991" cy="2938915"/>
            </a:xfrm>
            <a:custGeom>
              <a:avLst/>
              <a:gdLst/>
              <a:ahLst/>
              <a:cxnLst/>
              <a:rect l="l" t="t" r="r" b="b"/>
              <a:pathLst>
                <a:path w="3259667" h="3810000">
                  <a:moveTo>
                    <a:pt x="0" y="3810000"/>
                  </a:moveTo>
                  <a:lnTo>
                    <a:pt x="3251200" y="0"/>
                  </a:lnTo>
                  <a:cubicBezTo>
                    <a:pt x="3254022" y="1270000"/>
                    <a:pt x="3256845" y="2540000"/>
                    <a:pt x="3259667" y="3810000"/>
                  </a:cubicBezTo>
                  <a:lnTo>
                    <a:pt x="0" y="3810000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3" name="Freeform 12"/>
            <p:cNvSpPr/>
            <p:nvPr/>
          </p:nvSpPr>
          <p:spPr>
            <a:xfrm>
              <a:off x="7010323" y="-8468"/>
              <a:ext cx="2142269" cy="6866996"/>
            </a:xfrm>
            <a:custGeom>
              <a:avLst/>
              <a:gdLst/>
              <a:ahLst/>
              <a:cxnLst/>
              <a:rect l="l" t="t" r="r" b="b"/>
              <a:pathLst>
                <a:path w="2853267" h="6866467">
                  <a:moveTo>
                    <a:pt x="0" y="0"/>
                  </a:moveTo>
                  <a:lnTo>
                    <a:pt x="2472267" y="6866467"/>
                  </a:lnTo>
                  <a:lnTo>
                    <a:pt x="2853267" y="6858000"/>
                  </a:lnTo>
                  <a:lnTo>
                    <a:pt x="2853267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4" name="Freeform 13"/>
            <p:cNvSpPr/>
            <p:nvPr/>
          </p:nvSpPr>
          <p:spPr>
            <a:xfrm>
              <a:off x="8295392" y="-8468"/>
              <a:ext cx="857200" cy="6866996"/>
            </a:xfrm>
            <a:custGeom>
              <a:avLst/>
              <a:gdLst/>
              <a:ahLst/>
              <a:cxnLst/>
              <a:rect l="l" t="t" r="r" b="b"/>
              <a:pathLst>
                <a:path w="1286933" h="6866467">
                  <a:moveTo>
                    <a:pt x="1016000" y="0"/>
                  </a:moveTo>
                  <a:lnTo>
                    <a:pt x="0" y="6866467"/>
                  </a:lnTo>
                  <a:lnTo>
                    <a:pt x="1286933" y="6866467"/>
                  </a:lnTo>
                  <a:cubicBezTo>
                    <a:pt x="1284111" y="4577645"/>
                    <a:pt x="1281288" y="2288822"/>
                    <a:pt x="1278466" y="0"/>
                  </a:cubicBezTo>
                  <a:lnTo>
                    <a:pt x="1016000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5" name="Freeform 14"/>
            <p:cNvSpPr/>
            <p:nvPr/>
          </p:nvSpPr>
          <p:spPr>
            <a:xfrm>
              <a:off x="8094645" y="-8468"/>
              <a:ext cx="1066739" cy="6866996"/>
            </a:xfrm>
            <a:custGeom>
              <a:avLst/>
              <a:gdLst/>
              <a:ahLst/>
              <a:cxnLst/>
              <a:rect l="l" t="t" r="r" b="b"/>
              <a:pathLst>
                <a:path w="1270244" h="6866467">
                  <a:moveTo>
                    <a:pt x="0" y="0"/>
                  </a:moveTo>
                  <a:lnTo>
                    <a:pt x="1117600" y="6866467"/>
                  </a:lnTo>
                  <a:lnTo>
                    <a:pt x="1270000" y="6866467"/>
                  </a:lnTo>
                  <a:cubicBezTo>
                    <a:pt x="1272822" y="4574822"/>
                    <a:pt x="1250245" y="2291645"/>
                    <a:pt x="125306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2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6" name="Freeform 15"/>
            <p:cNvSpPr/>
            <p:nvPr/>
          </p:nvSpPr>
          <p:spPr>
            <a:xfrm>
              <a:off x="8068270" y="4894488"/>
              <a:ext cx="1094580" cy="1964040"/>
            </a:xfrm>
            <a:custGeom>
              <a:avLst/>
              <a:gdLst/>
              <a:ahLst/>
              <a:cxnLst/>
              <a:rect l="l" t="t" r="r" b="b"/>
              <a:pathLst>
                <a:path w="1820333" h="3268133">
                  <a:moveTo>
                    <a:pt x="0" y="3268133"/>
                  </a:moveTo>
                  <a:lnTo>
                    <a:pt x="1811866" y="0"/>
                  </a:lnTo>
                  <a:cubicBezTo>
                    <a:pt x="1814688" y="1086555"/>
                    <a:pt x="1817511" y="2173111"/>
                    <a:pt x="1820333" y="3259666"/>
                  </a:cubicBezTo>
                  <a:lnTo>
                    <a:pt x="0" y="3268133"/>
                  </a:lnTo>
                  <a:close/>
                </a:path>
              </a:pathLst>
            </a:cu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1027" name="Title Placeholder 1"/>
          <p:cNvSpPr>
            <a:spLocks noGrp="1"/>
          </p:cNvSpPr>
          <p:nvPr>
            <p:ph type="title"/>
          </p:nvPr>
        </p:nvSpPr>
        <p:spPr bwMode="auto">
          <a:xfrm>
            <a:off x="660400" y="609600"/>
            <a:ext cx="6877050" cy="1320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  <a:endParaRPr lang="en-US" smtClean="0"/>
          </a:p>
        </p:txBody>
      </p:sp>
      <p:sp>
        <p:nvSpPr>
          <p:cNvPr id="1028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660400" y="2160588"/>
            <a:ext cx="6877050" cy="3881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856288" y="6042025"/>
            <a:ext cx="73977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60400" y="6042025"/>
            <a:ext cx="5008563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 dirty="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81825" y="6042025"/>
            <a:ext cx="5556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 smtClean="0">
                <a:solidFill>
                  <a:schemeClr val="accent1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72F3FB0-81C5-4B50-9FCC-98AD5AFA3B00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7" r:id="rId2"/>
    <p:sldLayoutId id="2147483706" r:id="rId3"/>
    <p:sldLayoutId id="2147483705" r:id="rId4"/>
    <p:sldLayoutId id="2147483704" r:id="rId5"/>
    <p:sldLayoutId id="2147483703" r:id="rId6"/>
    <p:sldLayoutId id="2147483702" r:id="rId7"/>
    <p:sldLayoutId id="2147483701" r:id="rId8"/>
    <p:sldLayoutId id="2147483700" r:id="rId9"/>
    <p:sldLayoutId id="2147483699" r:id="rId10"/>
    <p:sldLayoutId id="2147483709" r:id="rId11"/>
    <p:sldLayoutId id="2147483698" r:id="rId12"/>
    <p:sldLayoutId id="2147483710" r:id="rId13"/>
    <p:sldLayoutId id="2147483697" r:id="rId14"/>
    <p:sldLayoutId id="2147483696" r:id="rId15"/>
    <p:sldLayoutId id="2147483695" r:id="rId16"/>
    <p:sldLayoutId id="2147483711" r:id="rId17"/>
    <p:sldLayoutId id="2147483712" r:id="rId18"/>
    <p:sldLayoutId id="2147483713" r:id="rId19"/>
  </p:sldLayoutIdLst>
  <p:hf hdr="0" ftr="0" dt="0"/>
  <p:txStyles>
    <p:titleStyle>
      <a:lvl1pPr algn="l" defTabSz="457200" rtl="0" fontAlgn="base">
        <a:spcBef>
          <a:spcPct val="0"/>
        </a:spcBef>
        <a:spcAft>
          <a:spcPct val="0"/>
        </a:spcAft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1"/>
          </a:solidFill>
          <a:latin typeface="Trebuchet MS" pitchFamily="34" charset="0"/>
        </a:defRPr>
      </a:lvl2pPr>
      <a:lvl3pPr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1"/>
          </a:solidFill>
          <a:latin typeface="Trebuchet MS" pitchFamily="34" charset="0"/>
        </a:defRPr>
      </a:lvl3pPr>
      <a:lvl4pPr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1"/>
          </a:solidFill>
          <a:latin typeface="Trebuchet MS" pitchFamily="34" charset="0"/>
        </a:defRPr>
      </a:lvl4pPr>
      <a:lvl5pPr algn="l" defTabSz="457200" rtl="0" fontAlgn="base">
        <a:spcBef>
          <a:spcPct val="0"/>
        </a:spcBef>
        <a:spcAft>
          <a:spcPct val="0"/>
        </a:spcAft>
        <a:defRPr sz="3600">
          <a:solidFill>
            <a:schemeClr val="accent1"/>
          </a:solidFill>
          <a:latin typeface="Trebuchet MS" pitchFamily="34" charset="0"/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 3" pitchFamily="18" charset="2"/>
        <a:buChar char=""/>
        <a:defRPr kern="1200">
          <a:solidFill>
            <a:srgbClr val="404040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 3" pitchFamily="18" charset="2"/>
        <a:buChar char=""/>
        <a:defRPr sz="1600" kern="1200">
          <a:solidFill>
            <a:srgbClr val="404040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 3" pitchFamily="18" charset="2"/>
        <a:buChar char="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 3" pitchFamily="18" charset="2"/>
        <a:buChar char=""/>
        <a:defRPr sz="1200" kern="1200">
          <a:solidFill>
            <a:srgbClr val="404040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ts val="1000"/>
        </a:spcBef>
        <a:spcAft>
          <a:spcPct val="0"/>
        </a:spcAft>
        <a:buClr>
          <a:schemeClr val="accent1"/>
        </a:buClr>
        <a:buSzPct val="80000"/>
        <a:buFont typeface="Wingdings 3" pitchFamily="18" charset="2"/>
        <a:buChar char=""/>
        <a:defRPr sz="1200" kern="1200">
          <a:solidFill>
            <a:srgbClr val="404040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F5318929A0ADAD4CC70494D539AA3A5D23482BDEE6884DF0AF318B3DC4BD48ACA14F004F368B3373e5m4K" TargetMode="Externa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2B9305301D5BC817399C927D11903A43B3ECBC41821559824A51AE31E17B53770A9DB685976DD8F7dBZ0I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consultantplus://offline/ref=559A53099790BF66BA8EE6C79FEE63714AEC6AAA4FA62EA3A3064A94A53D5A3622AFE4FAAAA013A1xE50I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Relationship Id="rId4" Type="http://schemas.openxmlformats.org/officeDocument/2006/relationships/hyperlink" Target="consultantplus://offline/ref=559A53099790BF66BA8EE6C79FEE63714AEC6AAA4FA62EA3A3064A94A53D5A3622AFE4FAAAA013A2xE56I" TargetMode="Externa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028700" y="2263775"/>
            <a:ext cx="7113588" cy="1646238"/>
          </a:xfrm>
        </p:spPr>
        <p:txBody>
          <a:bodyPr/>
          <a:lstStyle/>
          <a:p>
            <a:pPr algn="l"/>
            <a:r>
              <a:rPr lang="ru-RU" sz="3200" b="1" smtClean="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МЕРЫ ПОДДЕРЖКИ В РАМКАХ ГОСУДАРСТВЕННЫХ ПРОГРАММ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1128 от 30.10.2014 «Об утверждении Правил предоставления субсидий российским организациям на компенсацию части затрат на проведение научно-исследовательских и опытно-конструкторских работ в рамках реализации комплексных проектов по организации серийных производств станкоинструментальной продукции в рамках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дпрограммы «Станкоинструментальная промышленность»</a:t>
            </a: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государственной программы Российской Федерации «Развитие промышленности и повышение ее конкурентоспособности»</a:t>
            </a:r>
            <a:r>
              <a:rPr lang="ru-RU" sz="1400">
                <a:solidFill>
                  <a:schemeClr val="accent1"/>
                </a:solidFill>
                <a:latin typeface="Trebuchet MS" pitchFamily="34" charset="0"/>
              </a:rPr>
              <a:t> </a:t>
            </a: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426575" y="6464300"/>
            <a:ext cx="40481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0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39939" name="Прямоугольник 14"/>
          <p:cNvSpPr>
            <a:spLocks noChangeArrowheads="1"/>
          </p:cNvSpPr>
          <p:nvPr/>
        </p:nvSpPr>
        <p:spPr bwMode="auto">
          <a:xfrm>
            <a:off x="547688" y="11874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6100" y="1792288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сийские организации, реализующие проекты и прошедшие конкурсный отбор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6100" y="2141538"/>
            <a:ext cx="8712200" cy="2365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пенсация части затрат на проведение научно-исследовательских и опытно-конструкторских работ, непосредственно связанных с созданием продукции в рамках реализации проектов по  предусмотренным технологическим направлениям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2509838"/>
            <a:ext cx="8712200" cy="11953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ритерии определения рейтинга заявок конкурсной комиссие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ъем реализации инновационной продукции, которая будет создана с использованием научно-исследовательских и опытно-конструкторских работ, полученных в ходе реализации производственной составляющей проект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, запрашиваемой на реализацию научно-исследовательских и опытно-конструкторских работ в рамках проект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оличество разработанных технологий мирового уровня, прошедших опытную обработку или переданных в производство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оличество патентов или секретов производства (ноу-хау), которые будут получены по результатам проведения научно-исследовательских и опытно-конструкторских работ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рок реализации проекта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6100" y="1484313"/>
            <a:ext cx="8712200" cy="1682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9944" name="Прямоугольник 11"/>
          <p:cNvSpPr>
            <a:spLocks noChangeArrowheads="1"/>
          </p:cNvSpPr>
          <p:nvPr/>
        </p:nvSpPr>
        <p:spPr bwMode="auto">
          <a:xfrm>
            <a:off x="546100" y="4979988"/>
            <a:ext cx="8712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КОНКУРСНОГО ОТБОРА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46100" y="5381625"/>
            <a:ext cx="2000250" cy="11811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не позднее чем за 15 дней до объявленного дня проведения конкурса необходимых документов (для участия в предварительном отборе участников)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01950" y="5381625"/>
            <a:ext cx="2000250" cy="1182688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змещение на официальном сайте списка организаций, прошедших предварительный отбор участников конкурс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257800" y="5380038"/>
            <a:ext cx="1895475" cy="11826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 (ПРОШЕДШИЕ ПРЕДВАРИТЕЛЬНЫЙ ОТБОР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не позднее чем з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 день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до объявленного дня проведения конкурса необходимых документов (для участия 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нкурсе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2546350" y="5972175"/>
            <a:ext cx="3556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 flipV="1">
            <a:off x="4902200" y="5970588"/>
            <a:ext cx="355600" cy="158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3841750"/>
            <a:ext cx="8712200" cy="3286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договора, заключенного с Министерством промышленности и торговли Российской Федераци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4302125"/>
            <a:ext cx="8712200" cy="539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щий размер субсидии в рамках каждого проекта не может превышать 100 процентов затрат организации на выполнение научно-исследовательских и опытно-конструкторских работ в рамках проекта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508875" y="5380038"/>
            <a:ext cx="1749425" cy="11826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писание договоров с победителями конкурс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1" name="Прямая со стрелкой 40"/>
          <p:cNvCxnSpPr>
            <a:stCxn id="19" idx="3"/>
            <a:endCxn id="40" idx="1"/>
          </p:cNvCxnSpPr>
          <p:nvPr/>
        </p:nvCxnSpPr>
        <p:spPr>
          <a:xfrm>
            <a:off x="7153275" y="5970588"/>
            <a:ext cx="3556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678 от 07.07.2015 «Об утверждении Правил предоставления грантов в форме субсидий из федерального бюджета на реализацию перспективных инновационных проектов в агропромышленном в рамках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дпрограммы «Техническая и технологическая модернизация, инновационное развитие»</a:t>
            </a: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государственной программы Российской Федерации «Государственная программа развития сельского хозяйства и регулирования рынков сельскохозяйственной продукции, сырья и продовольствия на 2013-2020 годы»</a:t>
            </a:r>
            <a:r>
              <a:rPr lang="ru-RU" sz="1400">
                <a:solidFill>
                  <a:schemeClr val="accent1"/>
                </a:solidFill>
                <a:latin typeface="Trebuchet MS" pitchFamily="34" charset="0"/>
              </a:rPr>
              <a:t> </a:t>
            </a: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417050" y="6464300"/>
            <a:ext cx="41433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1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1987" name="Прямоугольник 14"/>
          <p:cNvSpPr>
            <a:spLocks noChangeArrowheads="1"/>
          </p:cNvSpPr>
          <p:nvPr/>
        </p:nvSpPr>
        <p:spPr bwMode="auto">
          <a:xfrm>
            <a:off x="547688" y="13144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6100" y="1798638"/>
            <a:ext cx="8712200" cy="1889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сполнители перспективных инновационных проектов в агропромышленном комплексе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6100" y="2062163"/>
            <a:ext cx="8712200" cy="1746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ализация перспективных инновационных проектов в агропромышленном комплексе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2306638"/>
            <a:ext cx="8712200" cy="15303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ритерии отбора проектов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ответствие решений, предлагаемых в инновационном проекте, одному из уровней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инновационности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ализуемость инновационного проекта, включающая наличие кадрового потенциала и достаточного для реализации инновационного проекта материально-технического обеспечения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остребованность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зультатов инновационного проекта, подтверждаемая наличием договоров, гарантий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язательств и т.д.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еимущества перед аналогичными уже реализованными или реализуемыми инновационным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ами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экономической эффективности инновацион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а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еспеч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бюджетной эффективности использования выделяемых финансов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редств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еспеч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циальной эффективности инновацион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а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еспеч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озможности использования результатов инновационного проекта в субъектах Российской Федерации с аналогичными природно-климатическим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словиям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6100" y="1552575"/>
            <a:ext cx="8712200" cy="1682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гранты в форме субсидий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992" name="Прямоугольник 11"/>
          <p:cNvSpPr>
            <a:spLocks noChangeArrowheads="1"/>
          </p:cNvSpPr>
          <p:nvPr/>
        </p:nvSpPr>
        <p:spPr bwMode="auto">
          <a:xfrm>
            <a:off x="546100" y="4979988"/>
            <a:ext cx="8712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ОТБОРА ИНВЕСТИЦИОННЫХ ПРОЕКТОВ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973138" y="5340350"/>
            <a:ext cx="3675062" cy="1179513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СПОЛНИТЕЛЬ ПРОЕКТ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в Минсельхоз России заявки на получение гранта, технико-экономического обоснования затрат на реализацию проекта, соглашение между исполнителем проекта и инвестором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финансирования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проекта о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финансировании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проекта и дальнейшей коммерциализации его результатов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073650" y="5340350"/>
            <a:ext cx="3738563" cy="1176338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СЕЛЬХОЗ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тбор инновационных проектов и установление объема финансовых средств грантов (комиссия, создаваемая Минсельхозом)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ения соглашения с исполнителями проектов в отношении проектов, прошедших конкурсный отбор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4648200" y="5927725"/>
            <a:ext cx="425450" cy="1588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3903663"/>
            <a:ext cx="8712200" cy="3286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гранты (субсидии) представляются на основании соглашения, заключенного с Министерством </a:t>
            </a:r>
            <a:r>
              <a:rPr lang="ru-RU" sz="900">
                <a:solidFill>
                  <a:schemeClr val="tx1"/>
                </a:solidFill>
                <a:latin typeface="Calibri" panose="020F0502020204030204" pitchFamily="34" charset="0"/>
              </a:rPr>
              <a:t>сельского хозяйств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оссийской Федераци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4314825"/>
            <a:ext cx="8712200" cy="539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Максимальный размер гранта на реализацию одного инновационного проекта определяется с учетом лимитов бюджетных обязательств на текущий финансовый год и не может составлять более 60 процентов затрат на инновационный проект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ъем средств исполнителя инновационного проекта должен составлять не менее 40 процентов затрат на инновационный проект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1432 от 27.12.2012 г. «Об утверждении Правил предоставления субсидий производителям сельскохозяйственной техники (в ред. постановления Правительства Российской Федерации от 04.07.2015 г. №550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83713" y="6464300"/>
            <a:ext cx="44767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2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4035" name="Прямоугольник 14"/>
          <p:cNvSpPr>
            <a:spLocks noChangeArrowheads="1"/>
          </p:cNvSpPr>
          <p:nvPr/>
        </p:nvSpPr>
        <p:spPr bwMode="auto">
          <a:xfrm>
            <a:off x="546100" y="1133475"/>
            <a:ext cx="32432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4513" y="1738313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изводители сельскохозяйственной техник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4513" y="2100263"/>
            <a:ext cx="8712200" cy="2365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 возмещение затрат на производство и реализацию сельскохозяйственной техник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4513" y="2478088"/>
            <a:ext cx="8712200" cy="12319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Требования, предъявляемые к сельхозпроизводителю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1. Производителем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ыступает юридическое лицо, являющееся налоговым резидентом Российской Федерации не менее 3 лет и осуществляющее производство сельскохозяйственной техники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2.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оизводитель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ладает правами на конструкторскую и технологическую документацию в объеме, необходимом для осуществления разработки, производства, модернизации и обслуживания сельскохозяйственной техники, ее оборудования и компонентов, а также предоставляет на реализуемую сельскохозяйственную технику гарантию, действующую не менее 12 месяцев со дня реализации этой сельскохозяйственной техники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3.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оизводитель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ализующий указанную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ельскохозяйственную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технику имее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глашения (договоры) с расположенными не менее чем в 40 субъектах Российской Федерации сервисными организациями по техническому обслуживанию и ремонту сельскохозяйственной техники, которые являются налоговыми резидентами Российской Федерации и осуществляют сервисное обслуживание сельскохозяйственной техники производителя не менее 1 года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4513" y="1428750"/>
            <a:ext cx="8712200" cy="1698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040" name="Прямоугольник 11"/>
          <p:cNvSpPr>
            <a:spLocks noChangeArrowheads="1"/>
          </p:cNvSpPr>
          <p:nvPr/>
        </p:nvSpPr>
        <p:spPr bwMode="auto">
          <a:xfrm>
            <a:off x="546100" y="4979988"/>
            <a:ext cx="8712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ЗАКЛЮЧЕНИЯ СОГЛАШЕНИЯ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46100" y="5381625"/>
            <a:ext cx="2000250" cy="11811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ИЗВОДИТЕЛ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заявления с указанием необходимых сведений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Росс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01950" y="5381625"/>
            <a:ext cx="2000250" cy="1182688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гистрация полученных документов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верка документов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ыдача производителю о его соответствии указанным критериям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257800" y="5380038"/>
            <a:ext cx="1895475" cy="11826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ИЗВОДИТЕЛ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 Минсельхоз необходимых документов (включая заключение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а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России о соответствии критериям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2546350" y="5972175"/>
            <a:ext cx="3556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 flipV="1">
            <a:off x="4902200" y="5970588"/>
            <a:ext cx="355600" cy="158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3841750"/>
            <a:ext cx="8712200" cy="3286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соглашения, заключенного с Министерством сельского хозяйства Российской Федераци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4302125"/>
            <a:ext cx="8712200" cy="539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 размере 25% цены сельскохозяйственной техники (без учета НДС), но не более предельного размера субсидии на единицу сельскохозяйственной техники.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 размер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30% цены сельскохозяйственной техники (без учет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ДС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), но не более предельного размера субсидии на единицу сельскохозяйственн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техники – в случае, если производитель техники зарегистрирован на территории Крымского, Сибирского и Дальневосточного федеральных округов.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7508875" y="5380038"/>
            <a:ext cx="1749425" cy="11826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СЕЛЬХОЗ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писание соглашения с производителем сельхозтехник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1" name="Прямая со стрелкой 40"/>
          <p:cNvCxnSpPr>
            <a:stCxn id="19" idx="3"/>
            <a:endCxn id="40" idx="1"/>
          </p:cNvCxnSpPr>
          <p:nvPr/>
        </p:nvCxnSpPr>
        <p:spPr>
          <a:xfrm>
            <a:off x="7153275" y="5970588"/>
            <a:ext cx="3556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1311275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</a:t>
            </a:r>
            <a:r>
              <a:rPr lang="ru-RU" sz="12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от 03.01.2014 № 5 </a:t>
            </a:r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об утверждении правил предоставления из федерального бюджета субсидий российским предприятиям (организациям) </a:t>
            </a:r>
            <a:r>
              <a:rPr lang="ru-RU" sz="12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химического комплекса </a:t>
            </a:r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на возмещение части затрат на уплату процентов по кредитам, полученным в российских кредитных организациях и государственной корпорации "банк развития и внешнеэкономической деятельности (Внешэкономбанк)" в 2014 - 2016 годах на реализацию инвестиционных проектов в рамках </a:t>
            </a:r>
            <a:r>
              <a:rPr lang="ru-RU" sz="12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дпрограммы</a:t>
            </a:r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«Химический комплекс" государственной </a:t>
            </a:r>
            <a:r>
              <a:rPr lang="ru-RU" sz="12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рограммы</a:t>
            </a:r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Российской Федерации «Развитие промышленности и повышение ее конкурентоспособности».</a:t>
            </a:r>
          </a:p>
          <a:p>
            <a:pPr algn="just"/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  <a:p>
            <a:pPr algn="just"/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  <a:p>
            <a:pPr algn="just">
              <a:lnSpc>
                <a:spcPct val="80000"/>
              </a:lnSpc>
            </a:pP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426575" y="6464300"/>
            <a:ext cx="404813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3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6083" name="Прямоугольник 14"/>
          <p:cNvSpPr>
            <a:spLocks noChangeArrowheads="1"/>
          </p:cNvSpPr>
          <p:nvPr/>
        </p:nvSpPr>
        <p:spPr bwMode="auto">
          <a:xfrm>
            <a:off x="546100" y="1411288"/>
            <a:ext cx="32448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1878013"/>
            <a:ext cx="8712200" cy="2222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ссийские предприят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рганизации)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имическ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мплекс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6100" y="2212975"/>
            <a:ext cx="8712200" cy="3000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змещение части затрат на уплату процентов по кредитам, полученным в российских кредитных организациях и государственной корпорации "Банк развития и внешнеэкономической деятельности (Внешэкономбанк)" в 2014 - 2016 годах на реализацию инвестиционных проектов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3244850"/>
            <a:ext cx="8712200" cy="8302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ные критерии отбора инвестиционных проектов конкурсной комиссией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а) инвестиционны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, который осуществляется в области производства изделий из пластмасс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б) кредит, который получен в целях реализации инвестиционного проекта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) стоимость инвестиционного проекта, которая составляет от 1,5 до 5 млрд. рубле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г) доля стоимости приобретаемого оборудования, необходимого для реализации инвестиционного проекта, в общей сумме инвестиций, которая составляет не менее 50 процентов;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2638425"/>
            <a:ext cx="8712200" cy="5111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и: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оставляются организациям, прошедшим конкурсный отбор на право получения субсидии. Конкурс проводит Министерство промышленности и торговли, но не реже одного раза в год. Предоставл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й осуществляется ежеквартально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1638300"/>
            <a:ext cx="8712200" cy="1476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6100" y="4189413"/>
            <a:ext cx="8712200" cy="6445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рублях</a:t>
            </a:r>
            <a:r>
              <a:rPr lang="ru-RU" sz="900" i="1" dirty="0">
                <a:solidFill>
                  <a:schemeClr val="tx1"/>
                </a:solidFill>
                <a:latin typeface="Calibri" panose="020F0502020204030204" pitchFamily="34" charset="0"/>
              </a:rPr>
              <a:t> –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2/3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ммы затра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плату процентов по кредиту в расчетном периоде. При этом размер субсидии не может превышать величину, рассчитанную исходя из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2/3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становленной ставки рефинансирован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ЦБ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ействующей на дату уплаты процентов по кредиту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иностранной валют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– 2/3 суммы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затрат организации на уплату процентов по кредиту в расчетном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ериоде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сходя из курса иностранной валюты по отношению к рублю, установлен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ЦБ 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ату осуществления указан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затрат, но не более 4% годовых.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6100" y="4902200"/>
            <a:ext cx="8712200" cy="1492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, заключаемый между организацией и Министерством промышленности и торговли 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46091" name="Прямоугольник 11"/>
          <p:cNvSpPr>
            <a:spLocks noChangeArrowheads="1"/>
          </p:cNvSpPr>
          <p:nvPr/>
        </p:nvSpPr>
        <p:spPr bwMode="auto">
          <a:xfrm>
            <a:off x="547688" y="55181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РОЦЕДУРА ОТБОРА ПОЛУЧАТЕЛЕЙ СУБСИД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768350" y="5954713"/>
            <a:ext cx="1822450" cy="5286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заявки и необходимого паке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16238" y="5918200"/>
            <a:ext cx="1824037" cy="6508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отрение заявки и пакета документов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64125" y="5897563"/>
            <a:ext cx="1824038" cy="6429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пределение победителей конкурса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213600" y="5872163"/>
            <a:ext cx="1822450" cy="6683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ение договора о предоставлении субсидии на срок реализации проекта</a:t>
            </a:r>
          </a:p>
        </p:txBody>
      </p:sp>
      <p:cxnSp>
        <p:nvCxnSpPr>
          <p:cNvPr id="3" name="Прямая со стрелкой 2"/>
          <p:cNvCxnSpPr>
            <a:endCxn id="17" idx="1"/>
          </p:cNvCxnSpPr>
          <p:nvPr/>
        </p:nvCxnSpPr>
        <p:spPr>
          <a:xfrm>
            <a:off x="2590800" y="6230938"/>
            <a:ext cx="325438" cy="1270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 flipV="1">
            <a:off x="4740275" y="6218238"/>
            <a:ext cx="323850" cy="2540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9" idx="3"/>
            <a:endCxn id="21" idx="1"/>
          </p:cNvCxnSpPr>
          <p:nvPr/>
        </p:nvCxnSpPr>
        <p:spPr>
          <a:xfrm flipV="1">
            <a:off x="6888163" y="6205538"/>
            <a:ext cx="325437" cy="1270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5167313"/>
            <a:ext cx="8712200" cy="1524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онтактное лицо по вопросам получения субсидии (сотрудник ведомства)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32 от 15.01.2014 г. «Об утверждении Правил предоставления субсидий из федерального бюджета российским производителям колесных транспортных средств на компенсацию части затрат на содержание рабочих мест в рамках подпрограммы «Автомобильная промышленность» государственной программы Российской Федерации «Развитие промышленности и повышение ее конкурентоспособности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99588" y="6464300"/>
            <a:ext cx="431800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4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48131" name="Прямоугольник 14"/>
          <p:cNvSpPr>
            <a:spLocks noChangeArrowheads="1"/>
          </p:cNvSpPr>
          <p:nvPr/>
        </p:nvSpPr>
        <p:spPr bwMode="auto">
          <a:xfrm>
            <a:off x="546100" y="1260475"/>
            <a:ext cx="32432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4513" y="1865313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производители колесных транспортных средств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4513" y="2236788"/>
            <a:ext cx="8712200" cy="2365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 компенсацию части затрат на содержание рабочих мест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4513" y="2605088"/>
            <a:ext cx="8712200" cy="12207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Условия предоставления субсидий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производитель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, аффилированные лица и иные организации, затраты которых включены в расчет размера субсидии, являются юридическими лицами, зарегистрированными на территории Российской Федерации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у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изводителя отсутствует задолженность по налогам, сборам и иным обязательным платежам в бюджеты бюджетной системы Российской Федерации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производителю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исвоен международный идентификационный код изготовителя (WMI), и производитель осуществляет операции по нанесению индивидуального идентификационного номера (VIN) на неразъемные составляющие кузова (кабины), шасси или специально изготовленные номерные таблички транспортных средств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производитель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уществляет производство транспортных средст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 одном из указанных режимов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  <a:hlinkClick r:id="rId3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производитель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е входи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 приведенны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еречень аффилирован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лиц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4513" y="1555750"/>
            <a:ext cx="8712200" cy="1698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8136" name="Прямоугольник 11"/>
          <p:cNvSpPr>
            <a:spLocks noChangeArrowheads="1"/>
          </p:cNvSpPr>
          <p:nvPr/>
        </p:nvSpPr>
        <p:spPr bwMode="auto">
          <a:xfrm>
            <a:off x="544513" y="5064125"/>
            <a:ext cx="871220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КОНКУРСНОГО ОТБОРА ИНВЕСТИЦИОННЫХ ПРОЕКТОВ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290638" y="5383213"/>
            <a:ext cx="3392487" cy="11811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ИЗВОДИТЕЛЬ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заявления о заключении договора о предоставления субсидии (в произвольной форме) с приложением необходимых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Росс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4900613" y="5383213"/>
            <a:ext cx="3448050" cy="11826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гистрация полученных заявлений и документов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верка документов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ение с производителем договора о предоставлении субсидий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>
            <a:off x="4683125" y="5973763"/>
            <a:ext cx="217488" cy="158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3968750"/>
            <a:ext cx="8712200" cy="3286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договора, заключенного с Министерством промышленности и торговли Российской Федераци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4429125"/>
            <a:ext cx="8712200" cy="539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 90% суммы затрат, при этом предельные размеры субсидий варьируются в пределах от 82500 тыс. рублей до 2200110 тыс. рублей (в зависимости от объема и структуры производства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1382713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200">
                <a:solidFill>
                  <a:srgbClr val="0070C0"/>
                </a:solidFill>
                <a:latin typeface="Tahoma" pitchFamily="34" charset="0"/>
                <a:cs typeface="Tahoma" pitchFamily="34" charset="0"/>
              </a:rPr>
              <a:t>	</a:t>
            </a:r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от 30.10.2013 № 972 «Об утверждении правил предоставления субсидий из федерального бюджета на поддержку развития производства композиционных материалов (композитов) и изделий из них в рамках реализации российскими организациями комплексных инновационных проектов по созданию высокотехнологичной продукции» (в рамках реализации государственной Программы Российской Федерации "Развитие промышленности и повышение ее конкурентоспособности» подпрограммы Развитие производства композиционных материалов (композитов) и изделий из них»)</a:t>
            </a:r>
          </a:p>
          <a:p>
            <a:pPr algn="just"/>
            <a:endParaRPr lang="ru-RU" sz="1400">
              <a:solidFill>
                <a:schemeClr val="accent1"/>
              </a:solidFill>
              <a:latin typeface="Calibri" pitchFamily="34" charset="0"/>
            </a:endParaRPr>
          </a:p>
          <a:p>
            <a:pPr algn="just"/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383713" y="6464300"/>
            <a:ext cx="44767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5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0179" name="Прямоугольник 14"/>
          <p:cNvSpPr>
            <a:spLocks noChangeArrowheads="1"/>
          </p:cNvSpPr>
          <p:nvPr/>
        </p:nvSpPr>
        <p:spPr bwMode="auto">
          <a:xfrm>
            <a:off x="546100" y="1323975"/>
            <a:ext cx="3244850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1878013"/>
            <a:ext cx="9053512" cy="4254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предприятия, осуществляющ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изводств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омпозиционных материалов (композитов) и изделий из них в рамках реализац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нновацион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ов по созданию высокотехнологичн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дукции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2425700"/>
            <a:ext cx="9053512" cy="2952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возмещение затрат в 2013 - 2016 годах на выполнение научно-исследовательских, опытно-конструкторских и технологически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абот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епосредственно связанных с созданием продукции в рамках реализации инновационного проекта.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3509963"/>
            <a:ext cx="9055100" cy="7620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Использование привлекаемых средств: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нжиниринговые услуги,</a:t>
            </a:r>
            <a:r>
              <a:rPr lang="ru-RU" sz="900" dirty="0"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одготовка лабораторного производственного и исследовательского комплекса,  провед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абот по пуско-наладк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орудования и т.п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собственных средств получателя субсидии и (или) средств третьих лиц, привлеченных для выполнения инновационного проекта, указанного в договоре, не может быть менее 100 процентов объема получаемой субсидии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latin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2859088"/>
            <a:ext cx="9055100" cy="4746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и: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едоставляютс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рганизациям, прошедшим конкурсный отбор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озмещение затрат в 2013 - 2016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годах.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1638300"/>
            <a:ext cx="9053512" cy="1365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6100" y="4462463"/>
            <a:ext cx="9055100" cy="1635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, заключаемый между организацией и Министерством промышленности и торговли 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0186" name="Прямоугольник 11"/>
          <p:cNvSpPr>
            <a:spLocks noChangeArrowheads="1"/>
          </p:cNvSpPr>
          <p:nvPr/>
        </p:nvSpPr>
        <p:spPr bwMode="auto">
          <a:xfrm>
            <a:off x="547688" y="53149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РОЦЕДУРА ОТБОРА ПОЛУЧАТЕЛЕЙ СУБСИД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604838" y="5700713"/>
            <a:ext cx="1824037" cy="6794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заявления и комплек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для предварительного отбора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898775" y="5699125"/>
            <a:ext cx="1822450" cy="681038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комплек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для участия в конкурсе 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191125" y="5707063"/>
            <a:ext cx="1824038" cy="6762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пределение победителей конкурса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419975" y="5699125"/>
            <a:ext cx="2173288" cy="677863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ение договора о предоставлении субсидии на срок реализации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нновационного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проекта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2428875" y="6038850"/>
            <a:ext cx="469900" cy="1588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>
            <a:off x="4721225" y="6038850"/>
            <a:ext cx="469900" cy="635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9" idx="3"/>
            <a:endCxn id="21" idx="1"/>
          </p:cNvCxnSpPr>
          <p:nvPr/>
        </p:nvCxnSpPr>
        <p:spPr>
          <a:xfrm flipV="1">
            <a:off x="7015163" y="6037263"/>
            <a:ext cx="404812" cy="793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36575" y="4752975"/>
            <a:ext cx="9056688" cy="1762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онтактное лицо по вопросам получения субсидии (сотрудник ведомства):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36575" y="5051425"/>
            <a:ext cx="9056688" cy="1762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Предоставление субсидий осуществляется в соответствии с планами графиками финансового обеспечения расходов в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</a:rPr>
              <a:t>I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и 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</a:rPr>
              <a:t>II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полугодиях финансового года</a:t>
            </a:r>
            <a:r>
              <a:rPr lang="en-US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624 от 24.06.2015 г. «Об утверждении Правил предоставления и распределения субсидий из федерального бюджета бюджетам субъектов Российской Федерации на возмещение части прямых понесенных затрат на создание и модернизацию объектов агропромышленного комплекса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391650" y="6464300"/>
            <a:ext cx="43973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6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2227" name="Прямоугольник 14"/>
          <p:cNvSpPr>
            <a:spLocks noChangeArrowheads="1"/>
          </p:cNvSpPr>
          <p:nvPr/>
        </p:nvSpPr>
        <p:spPr bwMode="auto">
          <a:xfrm>
            <a:off x="546100" y="1133475"/>
            <a:ext cx="3243263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4513" y="1738313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ъекты Российской Федер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4513" y="2100263"/>
            <a:ext cx="8712200" cy="2365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озмещение части прямых затрат на создание и модернизацию объектов агропромышленного комплекс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4513" y="2478088"/>
            <a:ext cx="8712200" cy="13636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утвержденных государственной программы субъекта Российской Федерации и (или) муниципальной программы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в бюджете субъекта Российской Федерации (местном бюджете) бюджетных ассигнований на исполнение расходного обязательства субъекта Российской Федерации,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софинансировани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которого осуществляется за счет субсидии, предоставленной из федераль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бюджета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Tx/>
              <a:buChar char="-"/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оставляются бюджетам субъектов Российской Федерации, на территории которых реализуются инвестиционные проекты, направленные на строительство и (или) модернизацию объектов (далее - инвестиционные проекты)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тбор инвестиционных проектов осуществляется в пределах ассигнований федерального бюджета, предусмотренных федеральным законом о федеральном бюджете на соответствующий финансовый год и плановый период в порядке, устанавливаемом Министерством сельского хозяйства Российской Федерации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4513" y="1428750"/>
            <a:ext cx="8712200" cy="1698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44513" y="5241925"/>
            <a:ext cx="8712200" cy="58578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соглашения форма которого утверждается Министерством сельского хозяйства Российской Федерации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глашением предусматривается адресное распределение субсидии по объектам с указанием сумм финансового обеспечения по каждому инвестиционному проекту (перечень объектов)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4513" y="3995738"/>
            <a:ext cx="8712200" cy="10922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- дл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ъектов (за исключением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селекционно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-генетических центров по разведению и трансплантации эмбрионов крупного рогатого скота группы черно-пестрых, палевых и красных пород) - 20 процентов сметной стоимости объекта (но не выше предельной стоимости объекта), а для таких объектов, находящихся в субъектах Российской Федерации, входящих в состав Дальневосточного федерального округа, - 25 процентов сметной стоимости объекта (но не выше предельной стоимости объекта)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- для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селекционно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-генетических центров по разведению и трансплантации эмбрионов крупного рогатого скота группы черно-пестрых, палевых и красных пород - 30 процентов сметной стоимости объекта (но не выше предельной стоимости), а для таких центров, находящихся в субъектах Российской Федерации, входящих в состав Дальневосточного федерального округа, - 35 процентов сметной стоимости объекта (но не выше предельной стоимости объекта)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1382713"/>
          </a:xfrm>
          <a:prstGeom prst="rect">
            <a:avLst/>
          </a:prstGeom>
        </p:spPr>
        <p:txBody>
          <a:bodyPr/>
          <a:lstStyle/>
          <a:p>
            <a:pPr algn="just"/>
            <a:r>
              <a:rPr lang="ru-RU" sz="12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от 15.11.2014 г. № 1212 «Об утверждении правил предоставления субсидий из федерального бюджета российским организациям на возмещение части затрат на уплату процентов по кредитам, полученным в российских кредитных организациях в 2013-2016 годах, на реализацию приоритетных инвестиционных проектов индустрии детских товаров, а также на компенсацию части затрат на уплату лизинговых платежей по договору финансовой аренды (лизинга) в рамках реализации приоритетных инвестиционных проектов индустрии детских товаров (в рамках Подпрограммы «индустрия детских товаров» государственной Программы Российской Федерации «Развитие промышленности и повышение ее конкурентоспособности»	</a:t>
            </a:r>
          </a:p>
          <a:p>
            <a:pPr algn="just"/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434513" y="6464300"/>
            <a:ext cx="396875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17</a:t>
            </a:r>
            <a:endParaRPr lang="ru-RU" sz="1400" b="1" dirty="0">
              <a:solidFill>
                <a:schemeClr val="tx1">
                  <a:lumMod val="50000"/>
                  <a:lumOff val="50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54275" name="Прямоугольник 14"/>
          <p:cNvSpPr>
            <a:spLocks noChangeArrowheads="1"/>
          </p:cNvSpPr>
          <p:nvPr/>
        </p:nvSpPr>
        <p:spPr bwMode="auto">
          <a:xfrm>
            <a:off x="546100" y="1411288"/>
            <a:ext cx="3244850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1870075"/>
            <a:ext cx="9053512" cy="4254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организации, деятельность которых направлена на создание, расширение, модернизацию производства товаров для детей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2401888"/>
            <a:ext cx="9053512" cy="3032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озмещение части затрат на уплату процентов по кредитам, полученным в российских кредитных организациях в 2013-2016 годах.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	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		                компенсация части затрат на уплату лизинговых платежей по договору финансовой аренды. 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4003675"/>
            <a:ext cx="9047163" cy="6350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			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на уплату процентов по кредитам в размере 0,9 ставки рефинансирования ЦБ.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                                   размер компенсационной части затрат на оплату первого платежа по договору финансовой аренды  не более 15% стоимости предмета лизинга.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                                  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</a:rPr>
              <a:t>размер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</a:rPr>
              <a:t>компенсационной части </a:t>
            </a:r>
            <a:r>
              <a:rPr lang="ru-RU" sz="900" dirty="0">
                <a:solidFill>
                  <a:prstClr val="black"/>
                </a:solidFill>
                <a:latin typeface="Calibri" panose="020F0502020204030204" pitchFamily="34" charset="0"/>
              </a:rPr>
              <a:t>затрат на уплату процентов по кредитам, полученным лизинговой компанией для приобретения предмета лизинга 90% суммы 		затрат организации на уплату указанных затрат по договору финансовой аренды (не более 0,9% ставки рефинансирования ЦБ)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latin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2806700"/>
            <a:ext cx="9055100" cy="57308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и на уплату процентов по кредитам: 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и отсутствии задолженности российских организаций по уплате начисленных российской кредитной организацией платежей и средства направлены на разработку ПСД, приобретение  (или долгосрочная аренда) земельных участков под создание новых производственных мощностей, обучение персонала работе на  высокотехнологичном оборудовании и т.п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1638300"/>
            <a:ext cx="9053512" cy="1365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36575" y="4748213"/>
            <a:ext cx="9056688" cy="2159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, заключаемый между организацией и Министерством промышленности и торговли на срок.   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54282" name="Прямоугольник 11"/>
          <p:cNvSpPr>
            <a:spLocks noChangeArrowheads="1"/>
          </p:cNvSpPr>
          <p:nvPr/>
        </p:nvSpPr>
        <p:spPr bwMode="auto">
          <a:xfrm>
            <a:off x="547688" y="534670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РОЦЕДУРА ОТБОРА ПОЛУЧАТЕЛЕЙ СУБСИД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463675" y="5718175"/>
            <a:ext cx="3070225" cy="6794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комплек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Росс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160963" y="5715000"/>
            <a:ext cx="3297237" cy="68262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отрение комплекта  документов организации и заключение договора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4533900" y="6056313"/>
            <a:ext cx="627063" cy="158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Скругленный прямоугольник 44"/>
          <p:cNvSpPr/>
          <p:nvPr/>
        </p:nvSpPr>
        <p:spPr>
          <a:xfrm>
            <a:off x="536575" y="5092700"/>
            <a:ext cx="9056688" cy="1762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Предоставление субсиди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существляется ежеквартально в пределах бюджетных ассигнований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546100" y="3492500"/>
            <a:ext cx="9055100" cy="412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и на уплату лизинговых платежей: 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и отсутствии задолженности по уплате лизинговых платежей за период, предшествующий предоставлению субсидии,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новные средства, полученные по договору финансовой аренды, не были в употреблении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8767762" cy="515938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1119 от 30.10.2014 «Об отборе субъектов Российской Федерации, имеющих право на получение государственной поддержки в форме субсидий на возмещение затрат на создание инфраструктуры индустриальных парков и технопарков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2</a:t>
            </a:r>
          </a:p>
        </p:txBody>
      </p:sp>
      <p:sp>
        <p:nvSpPr>
          <p:cNvPr id="23555" name="Прямоугольник 14"/>
          <p:cNvSpPr>
            <a:spLocks noChangeArrowheads="1"/>
          </p:cNvSpPr>
          <p:nvPr/>
        </p:nvSpPr>
        <p:spPr bwMode="auto">
          <a:xfrm>
            <a:off x="835025" y="1033463"/>
            <a:ext cx="32432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4513" y="1717675"/>
            <a:ext cx="3849687" cy="2762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ъек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едер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4513" y="2139950"/>
            <a:ext cx="3849687" cy="53498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озмещение затрат на создание инфраструктуры индустриальных парков и технопарков в размере не более объема налогов и таможенных пошлин, уплаченных резидентами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31813" y="3552825"/>
            <a:ext cx="3849687" cy="11922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/>
            <a:r>
              <a:rPr lang="ru-RU" sz="900" b="1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Условия отбора субъектов для получения субсидии: </a:t>
            </a: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Паспорт парка должен соответствовать заданным требованиям в отношении совокупной выручки резидентов, количества высокопроизводительных рабочих мест, количества резидентов парка и совокупной добавленной стоимост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4513" y="2814638"/>
            <a:ext cx="3849687" cy="598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Виды затрат в отношении которых может быть получена поддержка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зда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нфраструктуры парков, включая инженерную, технологическую и транспортную инфраструктуру, предназначенную для резидентов парков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50863" y="1311275"/>
            <a:ext cx="3849687" cy="2571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рование 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084763" y="1347788"/>
            <a:ext cx="4292600" cy="3889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ъект Российской Федерации 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правляет ответственному исполнителю заявку на возмещение затрат 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84763" y="2184400"/>
            <a:ext cx="4292600" cy="534988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тветственный исполнитель (</a:t>
            </a: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или </a:t>
            </a: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комсвязь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. Рассматривает заявку в течение 25 раб. дней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. Направляет заявку и проект акта Правительства РФ на согласование в Минфин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5084763" y="3205163"/>
            <a:ext cx="4292600" cy="106838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фин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. Рассматривает документы;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. Направляет запрос федеральным органам исполнительной власти в отношении бюджетных ассигнований на соответствующие цели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3. Направляет ответственному исполнителю заключение об обоснованности включения парка в перечень проектов и согласованный проект акта Правительства РФ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5084763" y="4759325"/>
            <a:ext cx="4292600" cy="4699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тветственный исполнитель (</a:t>
            </a: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или </a:t>
            </a: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комсвязь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носит в Правительство РФ согласованный проект ак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3565" name="Прямоугольник 63"/>
          <p:cNvSpPr>
            <a:spLocks noChangeArrowheads="1"/>
          </p:cNvSpPr>
          <p:nvPr/>
        </p:nvSpPr>
        <p:spPr bwMode="auto">
          <a:xfrm>
            <a:off x="5084763" y="1033463"/>
            <a:ext cx="42926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ПРОЦЕДУРА ОТБОРА СУБЪЕКТОВ ДЛЯ ПОЛУЧЕНИЯ СУБСИДИЙ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084763" y="5680075"/>
            <a:ext cx="4292600" cy="3968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авительство РФ</a:t>
            </a:r>
          </a:p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инятие решений об отборе субъектов для получения субсидий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4" name="Скругленный прямоугольник 23"/>
          <p:cNvSpPr/>
          <p:nvPr/>
        </p:nvSpPr>
        <p:spPr>
          <a:xfrm>
            <a:off x="531813" y="4884738"/>
            <a:ext cx="3849687" cy="11922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/>
            <a:r>
              <a:rPr lang="ru-RU" sz="900" b="1">
                <a:solidFill>
                  <a:schemeClr val="tx1"/>
                </a:solidFill>
                <a:latin typeface="Calibri" pitchFamily="34" charset="0"/>
                <a:cs typeface="Arial" charset="0"/>
              </a:rPr>
              <a:t>Возмещение затрат не осуществляется в случае, если: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строительство объектов инфраструктуры индустриального парка или технопарка осуществляется в рамках инвестиционных программ естественных монополий;</a:t>
            </a:r>
          </a:p>
          <a:p>
            <a:pPr algn="jus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создание инфраструктуры предназначено для обеспечения деятельности юридического лица по добыче полезных ископаемых и производства подакцизных товаров, за исключением производства автомобилей легковых и мотоциклов.</a:t>
            </a:r>
          </a:p>
        </p:txBody>
      </p:sp>
      <p:cxnSp>
        <p:nvCxnSpPr>
          <p:cNvPr id="41" name="Прямая со стрелкой 40"/>
          <p:cNvCxnSpPr>
            <a:stCxn id="14" idx="2"/>
            <a:endCxn id="19" idx="0"/>
          </p:cNvCxnSpPr>
          <p:nvPr/>
        </p:nvCxnSpPr>
        <p:spPr>
          <a:xfrm flipH="1">
            <a:off x="7231063" y="1736725"/>
            <a:ext cx="0" cy="4476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>
            <a:stCxn id="19" idx="2"/>
            <a:endCxn id="32" idx="0"/>
          </p:cNvCxnSpPr>
          <p:nvPr/>
        </p:nvCxnSpPr>
        <p:spPr>
          <a:xfrm flipH="1">
            <a:off x="7231063" y="2719388"/>
            <a:ext cx="0" cy="4857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stCxn id="32" idx="2"/>
            <a:endCxn id="56" idx="0"/>
          </p:cNvCxnSpPr>
          <p:nvPr/>
        </p:nvCxnSpPr>
        <p:spPr>
          <a:xfrm>
            <a:off x="7231063" y="4273550"/>
            <a:ext cx="0" cy="4857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>
            <a:stCxn id="56" idx="2"/>
            <a:endCxn id="23" idx="0"/>
          </p:cNvCxnSpPr>
          <p:nvPr/>
        </p:nvCxnSpPr>
        <p:spPr>
          <a:xfrm>
            <a:off x="7231063" y="5229225"/>
            <a:ext cx="0" cy="45085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8767762" cy="515938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614 от 22.06.2015 «Об особенностях создания территорий опережающего социально-экономического развития на территориях монопрофильных муниципальных образований Российской Федерации (моногородов)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3</a:t>
            </a:r>
          </a:p>
        </p:txBody>
      </p:sp>
      <p:sp>
        <p:nvSpPr>
          <p:cNvPr id="25603" name="Прямоугольник 14"/>
          <p:cNvSpPr>
            <a:spLocks noChangeArrowheads="1"/>
          </p:cNvSpPr>
          <p:nvPr/>
        </p:nvSpPr>
        <p:spPr bwMode="auto">
          <a:xfrm>
            <a:off x="835025" y="1033463"/>
            <a:ext cx="3243263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1695450"/>
            <a:ext cx="3849687" cy="8763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Территории опережающего развития создаются: 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 границах моногорода, утвержденных законом субъект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ой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0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лет (срок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ществования территории опережающего развития может быть продлен на 5 лет по решению Правительства Российск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едерации)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7688" y="2698750"/>
            <a:ext cx="3849687" cy="33782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/>
            <a:r>
              <a:rPr lang="ru-RU" sz="900" b="1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Требования к инвестиционным проектам, реализуемым резидентами территории опережающего развития: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количество создаваемых рабочих мест – не менее 20 единиц в течение первого года после включения в реестр резидентов ТОР;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объем капитальных вложений – не менее 5 млн. рублей в течение первого года после включения в реестр резидентов ТОР;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в результате реализации инвестиционного проекта не предусматривается исполнение контрактов, заключенных с градообразующей организацией моногорода или ее дочерними организациями, и (или) получение выручки от реализации товаров, оказания услуг градообразующей организации моногорода или ее дочерним организациям в объеме, превышающем 50 процентов всей выручки;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реализация инвестиционного проекта не предусматривает привлечения иностранной рабочей силы в количестве, превышающем 25 процентов общей численности работников;</a:t>
            </a:r>
          </a:p>
          <a:p>
            <a:pPr algn="just" fontAlgn="t">
              <a:buFont typeface="Arial" charset="0"/>
              <a:buChar char="•"/>
            </a:pPr>
            <a:r>
              <a:rPr lang="ru-RU" sz="900">
                <a:solidFill>
                  <a:schemeClr val="tx1"/>
                </a:solidFill>
                <a:latin typeface="Calibri" pitchFamily="34" charset="0"/>
                <a:cs typeface="Times New Roman" pitchFamily="18" charset="0"/>
              </a:rPr>
              <a:t>в результате реализации инвестиционного проекта не предусматривается производство подакцизных товаров (за исключением легковых автомобилей и мотоциклов), а также производство товаров и (или) оказание услуг по указанным видам экономической деятельности;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50863" y="1311275"/>
            <a:ext cx="3849687" cy="2571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е территории опережающего социально-экономического развития на территориях моногородов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084763" y="1306513"/>
            <a:ext cx="4292600" cy="5397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ысшее должностное лицо Субъекта Российской Федерации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экономразвития России заявк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 создании территории опережающего развития, согласованную с главой моногород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84763" y="2122488"/>
            <a:ext cx="4292600" cy="5365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экономразвития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е комиссии в целях рассмотрения заявок а также вопросов о продлении срока существования территории опережающего развития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2" name="Скругленный прямоугольник 31"/>
          <p:cNvSpPr/>
          <p:nvPr/>
        </p:nvSpPr>
        <p:spPr>
          <a:xfrm>
            <a:off x="5084763" y="2882900"/>
            <a:ext cx="4292600" cy="18923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отрение поступивших заявок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 прилагаемыми документами 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вед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ценк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 предмет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ответствия содержан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явки правилам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ответств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усмотренным целям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я территорий опережающе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звития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  <a:hlinkClick r:id="rId3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еобходимости и достаточности предложений по минимальному объему капитальных вложений, минимальному количеству создаваемых новых постоянных рабочих мест и перечню допустимых видов экономической деятельности, сформированных в отношении инвестицион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ектов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  <a:hlinkClick r:id="rId3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- налич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исков создания дополнительных расходных обязательств бюджетов бюджетной системы Российской Федерации в связи с созданием территории опережающего развития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5084763" y="4992688"/>
            <a:ext cx="4292600" cy="4699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экономразвития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готовка и предоставление в Правительство РФ предложения по созданию территории опережающего развития</a:t>
            </a:r>
          </a:p>
        </p:txBody>
      </p:sp>
      <p:sp>
        <p:nvSpPr>
          <p:cNvPr id="25611" name="Прямоугольник 63"/>
          <p:cNvSpPr>
            <a:spLocks noChangeArrowheads="1"/>
          </p:cNvSpPr>
          <p:nvPr/>
        </p:nvSpPr>
        <p:spPr bwMode="auto">
          <a:xfrm>
            <a:off x="5084763" y="1033463"/>
            <a:ext cx="429260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ПРОЦЕДУРА СОЗДАНИЯ ТОСЭР</a:t>
            </a:r>
          </a:p>
        </p:txBody>
      </p:sp>
      <p:sp>
        <p:nvSpPr>
          <p:cNvPr id="23" name="Скругленный прямоугольник 22"/>
          <p:cNvSpPr/>
          <p:nvPr/>
        </p:nvSpPr>
        <p:spPr>
          <a:xfrm>
            <a:off x="5084763" y="5680075"/>
            <a:ext cx="4292600" cy="3968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авительство РФ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шение о создании территории опережающего развития, принимаемое в форме постановления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1" name="Прямая со стрелкой 40"/>
          <p:cNvCxnSpPr>
            <a:stCxn id="14" idx="2"/>
            <a:endCxn id="19" idx="0"/>
          </p:cNvCxnSpPr>
          <p:nvPr/>
        </p:nvCxnSpPr>
        <p:spPr>
          <a:xfrm flipH="1">
            <a:off x="7231063" y="1846263"/>
            <a:ext cx="0" cy="27622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 стрелкой 45"/>
          <p:cNvCxnSpPr>
            <a:stCxn id="19" idx="2"/>
            <a:endCxn id="32" idx="0"/>
          </p:cNvCxnSpPr>
          <p:nvPr/>
        </p:nvCxnSpPr>
        <p:spPr>
          <a:xfrm>
            <a:off x="7231063" y="2659063"/>
            <a:ext cx="0" cy="22383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Прямая со стрелкой 48"/>
          <p:cNvCxnSpPr>
            <a:stCxn id="32" idx="2"/>
            <a:endCxn id="56" idx="0"/>
          </p:cNvCxnSpPr>
          <p:nvPr/>
        </p:nvCxnSpPr>
        <p:spPr>
          <a:xfrm>
            <a:off x="7231063" y="4775200"/>
            <a:ext cx="0" cy="217488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 стрелкой 51"/>
          <p:cNvCxnSpPr>
            <a:stCxn id="56" idx="2"/>
            <a:endCxn id="23" idx="0"/>
          </p:cNvCxnSpPr>
          <p:nvPr/>
        </p:nvCxnSpPr>
        <p:spPr>
          <a:xfrm>
            <a:off x="7231063" y="5462588"/>
            <a:ext cx="0" cy="217487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8767762" cy="515938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Государственная программа Российской Федерации «Экономическое развитие и инновационная экономика», утвержденная Постановлением Правительства Российской Федерации от 15 апреля 2014 г. </a:t>
            </a:r>
            <a:r>
              <a:rPr lang="en-US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N</a:t>
            </a: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316 (с изменениями, утвержденными Постановлением Правительства Российской Федерации от 26 декабря 2015 г. </a:t>
            </a:r>
            <a:r>
              <a:rPr lang="en-US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N</a:t>
            </a: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1452)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4</a:t>
            </a:r>
          </a:p>
        </p:txBody>
      </p:sp>
      <p:sp>
        <p:nvSpPr>
          <p:cNvPr id="27651" name="Прямоугольник 14"/>
          <p:cNvSpPr>
            <a:spLocks noChangeArrowheads="1"/>
          </p:cNvSpPr>
          <p:nvPr/>
        </p:nvSpPr>
        <p:spPr bwMode="auto">
          <a:xfrm>
            <a:off x="547688" y="923925"/>
            <a:ext cx="32432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1509713"/>
            <a:ext cx="8712200" cy="3667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ъек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ой Федерации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шедший конкурсный отбор в порядке и на условиях, которые установлены Министерством экономического развития Российской Федер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1943100"/>
            <a:ext cx="8712200" cy="38258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казание финансовой поддержки на исполнение расходных обязательств, возникающих при выполнении органами государственной власти субъектов Российской Федерации полномочий по государственной поддержке малого и среднего предпринимательств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7688" y="3033713"/>
            <a:ext cx="8712200" cy="10112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твержденных государственной программы (подпрограммы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)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в бюджете субъекта Российской Федерации и (или) муниципальном бюджете на текущий финансовый год и плановый период бюджетных ассигнований 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сполнение соответствующе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асход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язательства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спользова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типовой проектной документации, которая разработана для аналогичного объекта капитального строительства и информация о которой внесена в реестр типовой проектной документации (при наличии такой документации), - в отношении субсидий, за счет которых осуществляется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софинансировани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строительства объектов капиталь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троительств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7688" y="2408238"/>
            <a:ext cx="8712200" cy="5445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Виды затрат в отношении которых может быть получена поддержка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здание и (или) развитие инфраструктуры поддержки субъектов малого и среднего предпринимательств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ддержку субъектов малого и среднего предпринимательства, относящихся к различным категориям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547688" y="4789488"/>
            <a:ext cx="8712200" cy="182880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ответствие предусмотренных мероприятий указанным видам затрат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блюд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словий предоставлен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й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hlinkClick r:id="rId3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гласия субъект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словиями конкурсного отбора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язательства субъект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еспечению соответствия значений показателей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станавливаемых соответствующи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государственными программами (подпрограммами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)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предел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ргана исполнительной власт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ъекта,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полномоченно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заимодействие с Министерством экономического развития Российской Федерации по реализации мероприятий государственной поддержки малого и среднег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едпринимательства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язательства субъекта Российской Федерации по обеспечению размещения в региональных и муниципальных информационных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истемах, порталах и ресурсах необходимой информации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лич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бязательства субъект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сполнению законодательства Российской Федерации о контрактной системе в сфере закупок товаров, работ, услуг для обеспечения государственных и муниципальных нужд, в случае если такие закупки предусмотрены при использован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блюд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 отношении субсидий, распределяемых между бюджетами субъекто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чередном финансовом году на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</a:rPr>
              <a:t>софинансировани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мероприятий необходимых условий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hlinkClick r:id="rId4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1204913"/>
            <a:ext cx="8712200" cy="2206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7658" name="Прямоугольник 36"/>
          <p:cNvSpPr>
            <a:spLocks noChangeArrowheads="1"/>
          </p:cNvSpPr>
          <p:nvPr/>
        </p:nvSpPr>
        <p:spPr bwMode="auto">
          <a:xfrm>
            <a:off x="547688" y="4502150"/>
            <a:ext cx="5456237" cy="277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КРИТЕРИИ КОНКУРСНОГО ОТБОРА СУБЪЕКТОВ</a:t>
            </a: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7688" y="4125913"/>
            <a:ext cx="8712200" cy="2714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ровень </a:t>
            </a: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</a:rPr>
              <a:t>софинансирования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расходных обязательств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е менее 80% но не более 95% расходного обязательства субъекта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15938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6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831 от 11.08.2015 «Об утверждении Правил предоставления субсидий из федерального бюджета российским организациям - управляющим компаниям индустриальных (промышленных) парков и (или) технопарков на возмещение части затрат на уплату процентов по кредитам, полученным в российских кредитных организациях и государственной корпорации «Банк развития и внешнеэкономической деятельности (Внешэкономбанк)" в 2013 - 2016 годах на реализацию инвестиционных проектов создания объектов индустриальных (промышленных) парков и (или) технопарков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5</a:t>
            </a:r>
          </a:p>
        </p:txBody>
      </p:sp>
      <p:sp>
        <p:nvSpPr>
          <p:cNvPr id="29699" name="Прямоугольник 14"/>
          <p:cNvSpPr>
            <a:spLocks noChangeArrowheads="1"/>
          </p:cNvSpPr>
          <p:nvPr/>
        </p:nvSpPr>
        <p:spPr bwMode="auto">
          <a:xfrm>
            <a:off x="547688" y="1727200"/>
            <a:ext cx="3243262" cy="276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2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2359025"/>
            <a:ext cx="8712200" cy="2365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Управляющие компании индустриальных (промышленных) парков и (или) технопарков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2720975"/>
            <a:ext cx="8712200" cy="4540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змещение части затрат на уплату процентов по кредитам, полученным в российских кредитных организациях и государственной корпорации «Банк развития и внешнеэкономической деятельности (Внешэкономбанк)» в 2013-2016 годах на реализацию инвестиционных проектов создания объектов парков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7688" y="4164013"/>
            <a:ext cx="8712200" cy="7080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договора, заключенного с Министерством промышленности и торговли Российской Федерации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ля заключения договора управляющая компания в установленный срок представляет в Министерство промышленности и торговли Российской Федерации заявку сформированную в установленной форме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7688" y="3303588"/>
            <a:ext cx="8712200" cy="7318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Требования к инвестиционному проекту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Целью проекта является создание коммунальной, транспортной и технологической инфраструктуры, а также зданий, строений и сооружений, предназначенных для резидентов парк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ализация инвестиционного проекта будет способствовать решению задач и достижению целевых показателей и индикаторов государственной программы Российской Федерации «Развитие промышленности и повышение ее конкурентоспособности»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2008188"/>
            <a:ext cx="8712200" cy="2206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7688" y="4997450"/>
            <a:ext cx="8712200" cy="5397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рублях</a:t>
            </a:r>
            <a:r>
              <a:rPr lang="ru-RU" sz="900" i="1" dirty="0">
                <a:solidFill>
                  <a:schemeClr val="tx1"/>
                </a:solidFill>
                <a:latin typeface="Calibri" panose="020F0502020204030204" pitchFamily="34" charset="0"/>
              </a:rPr>
              <a:t> -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2/3 затрат, уплаченных компанией на выплату процентов по кредитам, но не более 0,9 ключевой ставки ЦБ</a:t>
            </a:r>
            <a:endParaRPr lang="ru-RU" sz="900" b="1" i="1" u="sng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иностранной валют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- 0,9 ключевой ставки ЦБ, но не более чем из расчета 4% годовых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7688" y="5664200"/>
            <a:ext cx="8712200" cy="8001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не предоставляются в отношении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осроченной ссудной задолженности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з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адолженности, образовавшейся в результате оплаты расходов, не относящихся к инвестиционным расходам на реализацию инвестиционного проекта;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задолженности, по которой управляющая компания получала из иных бюджетов бюджетной системы Российской Федерации средства на возмещение части затрат на уплату процентов по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руемым кредитным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ам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128111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3 от 03.01.2014 «Об утверждении Правил предоставления субсидий из федерального бюджета российским организациям на компенсацию части затрат на уплату процентов по кредитам, полученным в российских кредитных организациях в 2014 - 2016 годах на реализацию новых комплексных инвестиционных проектов по приоритетным направлениям гражданской промышленности в рамках подпрограммы «Обеспечение реализации государственной программы» государственной программы Российской Федерации «Развитие промышленности и повышение ее конкурентоспособности»</a:t>
            </a:r>
            <a:r>
              <a:rPr lang="ru-RU" sz="1400">
                <a:solidFill>
                  <a:schemeClr val="accent1"/>
                </a:solidFill>
                <a:latin typeface="Trebuchet MS" pitchFamily="34" charset="0"/>
              </a:rPr>
              <a:t> </a:t>
            </a: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6</a:t>
            </a:r>
          </a:p>
        </p:txBody>
      </p:sp>
      <p:sp>
        <p:nvSpPr>
          <p:cNvPr id="31747" name="Прямоугольник 14"/>
          <p:cNvSpPr>
            <a:spLocks noChangeArrowheads="1"/>
          </p:cNvSpPr>
          <p:nvPr/>
        </p:nvSpPr>
        <p:spPr bwMode="auto">
          <a:xfrm>
            <a:off x="547688" y="1411288"/>
            <a:ext cx="3243262" cy="260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1878013"/>
            <a:ext cx="8712200" cy="44450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организации реализующ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овые комплексные инвестиционные проекты по приоритетным направлениям гражданской промышленности 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мках подпрограммы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"Обеспечение реализации государственной программы" государственной программы Российской Федерации "Развитие промышленности и повышение ее конкурентоспособности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"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2425700"/>
            <a:ext cx="8712200" cy="3000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пенсация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части затрат на уплату процентов по кредитам, полученным в российских кредитных организациях в 2014 - 2016 годах и направленным на осуществление соответствующих инвестиционных проектов</a:t>
            </a: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3479800"/>
            <a:ext cx="8712200" cy="5699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ритерии отбора инвестиционных проектов конкурсной комиссие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ф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инансовая эффективность инвестиционного проект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б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юджетная эффективность инвестиционного проект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оциально-экономическая эффективность инвестиционного проек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2835275"/>
            <a:ext cx="8712200" cy="53498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Условия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несени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нвестиционного проекта в перечень комплексных инвестиционных проектов по приоритетным направлениям гражданск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мышленности.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нованием для включения инвестиционного проекта в перечень служит решение межведомственной комиссии, принимаемое по результатам конкурсного отбора, проводимого Министерством промышленности и торговли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1638300"/>
            <a:ext cx="8712200" cy="1476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6100" y="4162425"/>
            <a:ext cx="8712200" cy="6016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рублях</a:t>
            </a:r>
            <a:r>
              <a:rPr lang="ru-RU" sz="900" i="1" dirty="0">
                <a:solidFill>
                  <a:schemeClr val="tx1"/>
                </a:solidFill>
                <a:latin typeface="Calibri" panose="020F0502020204030204" pitchFamily="34" charset="0"/>
              </a:rPr>
              <a:t> –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0,7 от ключевой ставки ЦБ (если процентная ставка по кредиту больше или равна ключевой ставке) или 0,7 размера затрат организации на уплату процентов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(если процентная ставка по кредиту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меньше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лючевой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тавки) </a:t>
            </a:r>
            <a:endParaRPr lang="ru-RU" sz="900" b="1" u="sng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иностранной валют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- 0,9 ключевой ставки ЦБ, но не более чем из расчета 4% годовых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6100" y="4870450"/>
            <a:ext cx="8712200" cy="1809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, заключаемый между организацией и Министерством промышленности и торговли 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1755" name="Прямоугольник 11"/>
          <p:cNvSpPr>
            <a:spLocks noChangeArrowheads="1"/>
          </p:cNvSpPr>
          <p:nvPr/>
        </p:nvSpPr>
        <p:spPr bwMode="auto">
          <a:xfrm>
            <a:off x="547688" y="55181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РОЦЕДУРА ОТБОРА ПОЛУЧАТЕЛЕЙ СУБСИД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768350" y="5780088"/>
            <a:ext cx="1822450" cy="703262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заявки и необходимого паке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916238" y="5781675"/>
            <a:ext cx="1824037" cy="7048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отрение заявки и подготовка (для комиссии) предложения по количеству победителей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064125" y="5780088"/>
            <a:ext cx="1824038" cy="703262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исс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уществление оценки проектов, участвующих в конкурсе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7213600" y="5780088"/>
            <a:ext cx="1822450" cy="703262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ключение проекта в соответствующий  перечень 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>
            <a:off x="2590800" y="6130925"/>
            <a:ext cx="325438" cy="31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 flipV="1">
            <a:off x="4740275" y="6130925"/>
            <a:ext cx="323850" cy="31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9" idx="3"/>
            <a:endCxn id="21" idx="1"/>
          </p:cNvCxnSpPr>
          <p:nvPr/>
        </p:nvCxnSpPr>
        <p:spPr>
          <a:xfrm>
            <a:off x="6888163" y="6130925"/>
            <a:ext cx="325437" cy="1588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46100" y="5160963"/>
            <a:ext cx="8712200" cy="18256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онтактное лицо по вопросам получения субсидии (сотрудник ведомства):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1044 от 11.10.2014 «Об утверждении программы поддержки инвестиционных проектов, реализуемых на территории Российской Федерации на основе проектного финансирования»</a:t>
            </a:r>
            <a:r>
              <a:rPr lang="ru-RU" sz="1400">
                <a:solidFill>
                  <a:schemeClr val="accent1"/>
                </a:solidFill>
                <a:latin typeface="Trebuchet MS" pitchFamily="34" charset="0"/>
              </a:rPr>
              <a:t> </a:t>
            </a: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7</a:t>
            </a:r>
          </a:p>
        </p:txBody>
      </p:sp>
      <p:sp>
        <p:nvSpPr>
          <p:cNvPr id="33795" name="Прямоугольник 14"/>
          <p:cNvSpPr>
            <a:spLocks noChangeArrowheads="1"/>
          </p:cNvSpPr>
          <p:nvPr/>
        </p:nvSpPr>
        <p:spPr bwMode="auto">
          <a:xfrm>
            <a:off x="547688" y="78740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РОГРАММЫ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6100" y="1392238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редитных средств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организации реализующие инвестиционные проекты на территории Российской Федер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6100" y="1741488"/>
            <a:ext cx="8712200" cy="37782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ограммы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оздание механизма поддержки инвестиционных проектов на основе проектного финансирования, способствующего увеличению объемов кредитования организаций реального сектора экономики на долгосрочных и льготных условиях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3333750"/>
            <a:ext cx="8712200" cy="94456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ритерии отбора инвестиционных проектов межведомственной комиссие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еализация инвестиционного проекта на основе проектного финансирования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асположение на территории Российской Федерации производственной площадки инвестиционного проекта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еализация инвестиционного проекта в одном из приоритетных отраслей экономики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олная стоимость проекта (сумма всех затрат, за исключение процентов по кредитам) – не менее 1 млрд. рублей и не более 20 млрд. рублей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Финансирование не более 80% полной стоимости инвестиционного проекта за счет заемных средств;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2251075"/>
            <a:ext cx="8712200" cy="9588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Базовые условия предоставления кредитных средств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диты предоставляются российскими кредитными организациями и международными финансовыми организациями, отобранными для участия в программе, а также Внешэкономбанком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диты предоставляются в российских рублях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змер процентной ставки = не более, чем процентная ставка ЦБ + 2,5%; 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редитный договор предусматривает право банка на изменение ставки по кредиту в случае изменения процентной ставки ЦБ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дит является целевым и может быть использован только для финансирования инвестиционного проекта, отобранного для участия в программе.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6100" y="1084263"/>
            <a:ext cx="8712200" cy="1762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 в рамках программы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ение кредитных средств организациям на долгосрочных и льготных условиях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3801" name="Прямоугольник 11"/>
          <p:cNvSpPr>
            <a:spLocks noChangeArrowheads="1"/>
          </p:cNvSpPr>
          <p:nvPr/>
        </p:nvSpPr>
        <p:spPr bwMode="auto">
          <a:xfrm>
            <a:off x="546100" y="4449763"/>
            <a:ext cx="8712200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ОТБОРА ИНВЕСТИЦИОННЫХ ПРОЕКТОВ ДЛЯ УЧАСТИЯ В ПРОГРАММЕ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46100" y="4764088"/>
            <a:ext cx="1538288" cy="14557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НИЦИАТОР ПРОЕКТА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яет необходимые документы по проекту в соответствии с перечнем, установленным уполномоченным банком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2325688" y="4764088"/>
            <a:ext cx="1639887" cy="14557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УПОЛНОМОЧЕННЫЙ БАНК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атривает документы, проводит проверку проекта и инициатора, принимает решение о предоставлении кредита, направляет документы к комиссию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4205288" y="4764088"/>
            <a:ext cx="1631950" cy="1455737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БОЧИЙ ОРГАН МЕЖВЕДОМСТВЕННОЙ КОМИ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Направляет документы в заинтересованный федеральный орган, запрашивает у уполномоченного банка дополнительные/недостающие документы</a:t>
            </a:r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6076950" y="4768850"/>
            <a:ext cx="1443038" cy="14509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ИНТЕРЕСОВАННЫЙ ФЕДЕРАЛЬНЫЙ ОРГАН*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ставляет в межведомственную комиссию  заключение о целесообразности участия проекта в программе 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>
            <a:off x="2084388" y="5492750"/>
            <a:ext cx="2413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 flipV="1">
            <a:off x="3965575" y="5492750"/>
            <a:ext cx="239713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 стрелкой 26"/>
          <p:cNvCxnSpPr>
            <a:stCxn id="19" idx="3"/>
            <a:endCxn id="21" idx="1"/>
          </p:cNvCxnSpPr>
          <p:nvPr/>
        </p:nvCxnSpPr>
        <p:spPr>
          <a:xfrm>
            <a:off x="5837238" y="5492750"/>
            <a:ext cx="239712" cy="1588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Скругленный прямоугольник 72"/>
          <p:cNvSpPr/>
          <p:nvPr/>
        </p:nvSpPr>
        <p:spPr>
          <a:xfrm>
            <a:off x="7761288" y="4768850"/>
            <a:ext cx="1497012" cy="145097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ЕЖВЕДОМСТВЕННАЯ КОМИСС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инимает решение об отборе инвестиционного проекта для участия в программе</a:t>
            </a:r>
          </a:p>
        </p:txBody>
      </p:sp>
      <p:cxnSp>
        <p:nvCxnSpPr>
          <p:cNvPr id="74" name="Прямая со стрелкой 73"/>
          <p:cNvCxnSpPr>
            <a:stCxn id="21" idx="3"/>
            <a:endCxn id="73" idx="1"/>
          </p:cNvCxnSpPr>
          <p:nvPr/>
        </p:nvCxnSpPr>
        <p:spPr>
          <a:xfrm>
            <a:off x="7519988" y="5494338"/>
            <a:ext cx="241300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11" name="TextBox 78"/>
          <p:cNvSpPr txBox="1">
            <a:spLocks noChangeArrowheads="1"/>
          </p:cNvSpPr>
          <p:nvPr/>
        </p:nvSpPr>
        <p:spPr bwMode="auto">
          <a:xfrm>
            <a:off x="546100" y="6326188"/>
            <a:ext cx="8694738" cy="368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900">
                <a:latin typeface="Calibri" pitchFamily="34" charset="0"/>
                <a:cs typeface="Times New Roman" pitchFamily="18" charset="0"/>
              </a:rPr>
              <a:t>* Федеральный орган исполнительной власти, осуществляющий функции по выработке государственной политики и нормативно-правовому регулированию в сфере реализации инвестиционного проекта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128111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214 от 12.03.2015 г. «Об утверждении Правил предоставления в 2015 году субсидий из федерального бюджета организациям промышленности для возмещения части затрат, понесенных в 2015 году на уплату процентов по кредитам, полученным в российских кредитных организациях и государственной корпорации «Банк развития и внешнеэкономической деятельности (Внешэкономбанк)», а также в международных финансовых организациях, созданных в соответствии с международными договорами, в которых участвует Российская Федерация, на пополнение оборотных средств и (или) на финансирование текущей производственной деятельности»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8</a:t>
            </a:r>
          </a:p>
        </p:txBody>
      </p:sp>
      <p:sp>
        <p:nvSpPr>
          <p:cNvPr id="35843" name="Прямоугольник 14"/>
          <p:cNvSpPr>
            <a:spLocks noChangeArrowheads="1"/>
          </p:cNvSpPr>
          <p:nvPr/>
        </p:nvSpPr>
        <p:spPr bwMode="auto">
          <a:xfrm>
            <a:off x="547688" y="1820863"/>
            <a:ext cx="324326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7688" y="2443163"/>
            <a:ext cx="8712200" cy="4429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оссийские организации гражданской промышленности, осуществляющие деятельность в указанных сферах и которые включены в перечень системообразующих организаций, утвержденный решением Правительственной комиссии по экономическому развитию и интеграции, либо в перечень организаций, оказывающих существенной влияние на отрасли промышленности и торговли, утвержденный Министерством промышленности и торговли Российской Федер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7688" y="3013075"/>
            <a:ext cx="8712200" cy="376238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поддержки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возмещение части фактически произведенных и документально подтвержденных затрат, понесенных организациями в 2015 году на уплату процентов по кредитам (либо по траншам в рамках кредитных линий)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7688" y="3522663"/>
            <a:ext cx="8712200" cy="7048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Требования к кредитным договорам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говор заключен после 16 декабря 2014 г., либо уведомление об увеличении процентной ставки направлено после 16 декабря 2014г., либо после 16 декабря 2014г.  организации направлено уведомление о принятом решении о необходимости дополнительного соглашения к кредитному договору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дит предоставлен в валюте Российской Федерации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ц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елью предоставления кредита является пополнение оборотных средств и (или) финансирование текущей производственной деятельности организации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7688" y="2139950"/>
            <a:ext cx="8712200" cy="176213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из федеральног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547688" y="4360863"/>
            <a:ext cx="8712200" cy="6429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70% суммы фактических затрат организации на уплату процентов по кредиту, но не больше величины 70% ставки ЦБ, действовавшей на дату уплаты процентов по кредиту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ля одной организации – не более 75 млн.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блей за 3 месяца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547688" y="5129213"/>
            <a:ext cx="8712200" cy="196850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и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договор, заключаемый между организацией и Министерством промышленности и торговли 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</a:endParaRPr>
          </a:p>
        </p:txBody>
      </p:sp>
      <p:sp>
        <p:nvSpPr>
          <p:cNvPr id="35850" name="Прямоугольник 11"/>
          <p:cNvSpPr>
            <a:spLocks noChangeArrowheads="1"/>
          </p:cNvSpPr>
          <p:nvPr/>
        </p:nvSpPr>
        <p:spPr bwMode="auto">
          <a:xfrm>
            <a:off x="547688" y="55181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РОЦЕДУРА ОТБОРА ПОЛУЧАТЕЛЕЙ СУБСИДИИ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47688" y="5784850"/>
            <a:ext cx="3475037" cy="703263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ача заявления о заключении договора и необходимого пакета документов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5073650" y="5784850"/>
            <a:ext cx="4105275" cy="703263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егистрирует документы в порядке поступления;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ассматривает поступившие документы (в течение 30 календарных дней)</a:t>
            </a:r>
          </a:p>
          <a:p>
            <a:pPr marL="171450" indent="-17145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ает договор о предоставлении субсидии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>
            <a:off x="4022725" y="6137275"/>
            <a:ext cx="1050925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Заголовок 1"/>
          <p:cNvSpPr txBox="1">
            <a:spLocks/>
          </p:cNvSpPr>
          <p:nvPr/>
        </p:nvSpPr>
        <p:spPr>
          <a:xfrm>
            <a:off x="547688" y="15875"/>
            <a:ext cx="9053512" cy="563563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80000"/>
              </a:lnSpc>
            </a:pP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становление Правительства Российской Федерации № 42 от 21.01.2014 «Об утверждении Правил предоставления субсидий из федерального бюджета российским организациям на компенсацию процентных ставок по инвестиционным кредитам в сфере производства редких и редкоземельных металлов в рамках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подпрограммы «Развитие промышленности редких и редкоземельных металлов»</a:t>
            </a:r>
            <a:r>
              <a:rPr lang="ru-RU" sz="1400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1400" b="1">
                <a:solidFill>
                  <a:srgbClr val="236292"/>
                </a:solidFill>
                <a:latin typeface="Tahoma" pitchFamily="34" charset="0"/>
                <a:cs typeface="Tahoma" pitchFamily="34" charset="0"/>
              </a:rPr>
              <a:t>государственной программы Российской Федерации «Развитие промышленности и повышение ее конкурентоспособности»</a:t>
            </a:r>
            <a:r>
              <a:rPr lang="ru-RU" sz="1400">
                <a:solidFill>
                  <a:schemeClr val="accent1"/>
                </a:solidFill>
                <a:latin typeface="Trebuchet MS" pitchFamily="34" charset="0"/>
              </a:rPr>
              <a:t> </a:t>
            </a:r>
            <a:endParaRPr lang="ru-RU" sz="1400">
              <a:solidFill>
                <a:srgbClr val="236292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9601200" y="6464300"/>
            <a:ext cx="230188" cy="30797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+mn-lt"/>
                <a:cs typeface="+mn-cs"/>
              </a:rPr>
              <a:t>9</a:t>
            </a:r>
          </a:p>
        </p:txBody>
      </p:sp>
      <p:sp>
        <p:nvSpPr>
          <p:cNvPr id="37891" name="Прямоугольник 14"/>
          <p:cNvSpPr>
            <a:spLocks noChangeArrowheads="1"/>
          </p:cNvSpPr>
          <p:nvPr/>
        </p:nvSpPr>
        <p:spPr bwMode="auto">
          <a:xfrm>
            <a:off x="547688" y="1187450"/>
            <a:ext cx="324326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ОСНОВНЫЕ ХАРАКТЕРИСТИКИ ПОДДЕРЖКИ</a:t>
            </a: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46100" y="1792288"/>
            <a:ext cx="8712200" cy="217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лучатель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: </a:t>
            </a:r>
            <a:r>
              <a:rPr lang="en-US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р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ссийские организации, прошедшие конкурсный отбор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546100" y="2141538"/>
            <a:ext cx="8712200" cy="23653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Цель предоставления субсидий: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мпенсация процентных ставок по инвестиционным кредитам в сфере производства редких и редкоземельных металлов 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546100" y="2509838"/>
            <a:ext cx="8712200" cy="13096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Критерии отбора инвестиционных проектов конкурсной комиссией: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Организация осуществляет все или один из установленных видов деятельности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Реализация проекта предусматривает внедрение в промышленное производство результатов научно-исследовательских и опытно-конструкторских работ, полученных в ходе реализации подпрограммы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Минимальное значение производительности труда в результате реализации проекта составляет не менее 150 процентов по отношению к среднему значению производительности труда в обрабатывающих отраслях промышленности в 2011 году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роект способствует увеличению объемов отечественного производства продукции из редких и редкоземельных металлов не менее чем на 5 процентов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К расходам инвестиционного характера, возникающим в ходе реализации проекта, относятся на установленные расходы;</a:t>
            </a:r>
          </a:p>
          <a:p>
            <a:pPr marL="171450" indent="-171450" algn="just" fontAlgn="t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Ввод производственных мощностей по проекту осуществлен не ранее 2014 года.</a:t>
            </a: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46100" y="1484313"/>
            <a:ext cx="8712200" cy="168275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Форма 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оддержки: 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субсидии из федерально бюджета</a:t>
            </a: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7896" name="Прямоугольник 11"/>
          <p:cNvSpPr>
            <a:spLocks noChangeArrowheads="1"/>
          </p:cNvSpPr>
          <p:nvPr/>
        </p:nvSpPr>
        <p:spPr bwMode="auto">
          <a:xfrm>
            <a:off x="536575" y="5200650"/>
            <a:ext cx="8713788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fontAlgn="ctr"/>
            <a:r>
              <a:rPr lang="ru-RU" sz="1100" b="1">
                <a:solidFill>
                  <a:schemeClr val="accent2"/>
                </a:solidFill>
                <a:latin typeface="Calibri" pitchFamily="34" charset="0"/>
              </a:rPr>
              <a:t>ПОРЯДОК ЗАКЛЮЧЕНИЯ ДОГОВОРОВ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723900" y="5505450"/>
            <a:ext cx="2198688" cy="962025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ОРГАНИЗАЦ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b="1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Предоставляет заявку на участие в конкурсе, а также необходимые документы в </a:t>
            </a:r>
            <a:r>
              <a:rPr lang="ru-RU" sz="900" dirty="0" err="1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 России</a:t>
            </a:r>
          </a:p>
        </p:txBody>
      </p:sp>
      <p:sp>
        <p:nvSpPr>
          <p:cNvPr id="17" name="Скругленный прямоугольник 16"/>
          <p:cNvSpPr/>
          <p:nvPr/>
        </p:nvSpPr>
        <p:spPr>
          <a:xfrm>
            <a:off x="3417888" y="5491163"/>
            <a:ext cx="2452687" cy="9842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КОНКУРСНАЯ КОМИССИЯ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1. Принятие решения о соответствии критериям;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2. Определение победителей конкурса на основании критерия социально-экономической эффективности проекта</a:t>
            </a: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6367463" y="5491163"/>
            <a:ext cx="2597150" cy="984250"/>
          </a:xfrm>
          <a:prstGeom prst="roundRect">
            <a:avLst/>
          </a:prstGeom>
          <a:solidFill>
            <a:srgbClr val="F2F2F2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МИНПРОМТОРГ РОССИИ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900" dirty="0">
              <a:solidFill>
                <a:schemeClr val="tx1"/>
              </a:solidFill>
              <a:latin typeface="Calibri" panose="020F0502020204030204" pitchFamily="34" charset="0"/>
              <a:cs typeface="Times New Roman" panose="02020603050405020304" pitchFamily="18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  <a:cs typeface="Times New Roman" panose="02020603050405020304" pitchFamily="18" charset="0"/>
              </a:rPr>
              <a:t>Заключение договоров с победителями конкурса о предоставлении субсидий на срок реализации проекта</a:t>
            </a:r>
          </a:p>
        </p:txBody>
      </p:sp>
      <p:cxnSp>
        <p:nvCxnSpPr>
          <p:cNvPr id="3" name="Прямая со стрелкой 2"/>
          <p:cNvCxnSpPr>
            <a:stCxn id="13" idx="3"/>
            <a:endCxn id="17" idx="1"/>
          </p:cNvCxnSpPr>
          <p:nvPr/>
        </p:nvCxnSpPr>
        <p:spPr>
          <a:xfrm flipV="1">
            <a:off x="2922588" y="5983288"/>
            <a:ext cx="495300" cy="3175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>
            <a:stCxn id="17" idx="3"/>
            <a:endCxn id="19" idx="1"/>
          </p:cNvCxnSpPr>
          <p:nvPr/>
        </p:nvCxnSpPr>
        <p:spPr>
          <a:xfrm>
            <a:off x="5870575" y="5983288"/>
            <a:ext cx="496888" cy="0"/>
          </a:xfrm>
          <a:prstGeom prst="straightConnector1">
            <a:avLst/>
          </a:prstGeom>
          <a:ln w="19050">
            <a:solidFill>
              <a:srgbClr val="CFCFCF"/>
            </a:solidFill>
            <a:prstDash val="sysDash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Скругленный прямоугольник 23"/>
          <p:cNvSpPr/>
          <p:nvPr/>
        </p:nvSpPr>
        <p:spPr>
          <a:xfrm>
            <a:off x="536575" y="3960813"/>
            <a:ext cx="8713788" cy="328612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Основание предоставления субсидий:</a:t>
            </a: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представляются на основании договора, заключенного с Министерством промышленности и торговли Российской Федерации.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546100" y="4430713"/>
            <a:ext cx="8712200" cy="725487"/>
          </a:xfrm>
          <a:prstGeom prst="roundRect">
            <a:avLst/>
          </a:prstGeom>
          <a:solidFill>
            <a:srgbClr val="D3E6F5"/>
          </a:solidFill>
          <a:ln>
            <a:solidFill>
              <a:srgbClr val="CFCFCF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Размер субсидии: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рублях</a:t>
            </a:r>
            <a:r>
              <a:rPr lang="ru-RU" sz="900" i="1" dirty="0">
                <a:solidFill>
                  <a:schemeClr val="tx1"/>
                </a:solidFill>
                <a:latin typeface="Calibri" panose="020F0502020204030204" pitchFamily="34" charset="0"/>
              </a:rPr>
              <a:t> -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2/3 суммы затрат организации на уплату процентов по кредиту в расчетном периоде, но не более 2/3 ставки рефинансирования ЦБ</a:t>
            </a:r>
            <a:endParaRPr lang="ru-RU" sz="900" b="1" i="1" u="sng" dirty="0">
              <a:solidFill>
                <a:schemeClr val="tx1"/>
              </a:solidFill>
              <a:latin typeface="Calibri" panose="020F0502020204030204" pitchFamily="34" charset="0"/>
            </a:endParaRP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i="1" u="sng" dirty="0">
                <a:solidFill>
                  <a:schemeClr val="tx1"/>
                </a:solidFill>
                <a:latin typeface="Calibri" panose="020F0502020204030204" pitchFamily="34" charset="0"/>
              </a:rPr>
              <a:t>По кредитам, полученным в иностранной валюте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 – 2/3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суммы затрат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на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уплату процентов по кредиту в расчетном </a:t>
            </a:r>
            <a:r>
              <a:rPr lang="ru-RU" sz="900" dirty="0">
                <a:solidFill>
                  <a:schemeClr val="tx1"/>
                </a:solidFill>
                <a:latin typeface="Calibri" panose="020F0502020204030204" pitchFamily="34" charset="0"/>
              </a:rPr>
              <a:t>периоде исходя из курса иностранной валюты по отношению к рублю, установленного ЦБ, но не более чем из расчета 4% годовых</a:t>
            </a:r>
          </a:p>
          <a:p>
            <a:pPr algn="just" fontAlgn="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00" b="1" dirty="0">
                <a:solidFill>
                  <a:schemeClr val="tx1"/>
                </a:solidFill>
                <a:latin typeface="Calibri" panose="020F0502020204030204" pitchFamily="34" charset="0"/>
              </a:rPr>
              <a:t>Субсидии на возмещение процентов, начисленных и уплаченных по просроченной ссудной задолженности, не предоставляется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D5SXzVsEeSr6ZASM3NG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heme/theme1.xml><?xml version="1.0" encoding="utf-8"?>
<a:theme xmlns:a="http://schemas.openxmlformats.org/drawingml/2006/main" name="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Facet" id="{C0C680CD-088A-49FC-A102-D699147F32B2}" vid="{0B5AB586-D108-4FC1-8368-649FE654B894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Facet</Template>
  <TotalTime>5357</TotalTime>
  <Words>4783</Words>
  <Application>Microsoft Office PowerPoint</Application>
  <PresentationFormat>Лист A4 (210x297 мм)</PresentationFormat>
  <Paragraphs>453</Paragraphs>
  <Slides>17</Slides>
  <Notes>16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Шаблон оформления</vt:lpstr>
      </vt:variant>
      <vt:variant>
        <vt:i4>7</vt:i4>
      </vt:variant>
      <vt:variant>
        <vt:lpstr>Заголовки слайдов</vt:lpstr>
      </vt:variant>
      <vt:variant>
        <vt:i4>17</vt:i4>
      </vt:variant>
    </vt:vector>
  </HeadingPairs>
  <TitlesOfParts>
    <vt:vector size="31" baseType="lpstr">
      <vt:lpstr>Trebuchet MS</vt:lpstr>
      <vt:lpstr>Arial</vt:lpstr>
      <vt:lpstr>Wingdings 3</vt:lpstr>
      <vt:lpstr>Calibri</vt:lpstr>
      <vt:lpstr>+mn-lt</vt:lpstr>
      <vt:lpstr>Tahoma</vt:lpstr>
      <vt:lpstr>Times New Roman</vt:lpstr>
      <vt:lpstr>Грань</vt:lpstr>
      <vt:lpstr>Грань</vt:lpstr>
      <vt:lpstr>Грань</vt:lpstr>
      <vt:lpstr>Грань</vt:lpstr>
      <vt:lpstr>Грань</vt:lpstr>
      <vt:lpstr>Грань</vt:lpstr>
      <vt:lpstr>Грань</vt:lpstr>
      <vt:lpstr>МЕРЫ ПОДДЕРЖКИ В РАМКАХ ГОСУДАРСТВЕННЫХ ПРОГРАММ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оложение</dc:title>
  <dc:creator>И.И. Иванов</dc:creator>
  <cp:lastModifiedBy>1</cp:lastModifiedBy>
  <cp:revision>475</cp:revision>
  <cp:lastPrinted>2016-01-18T12:25:42Z</cp:lastPrinted>
  <dcterms:created xsi:type="dcterms:W3CDTF">2015-07-16T08:10:26Z</dcterms:created>
  <dcterms:modified xsi:type="dcterms:W3CDTF">2016-03-02T14:51:48Z</dcterms:modified>
</cp:coreProperties>
</file>